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97" r:id="rId4"/>
  </p:sldMasterIdLst>
  <p:notesMasterIdLst>
    <p:notesMasterId r:id="rId12"/>
  </p:notesMasterIdLst>
  <p:handoutMasterIdLst>
    <p:handoutMasterId r:id="rId13"/>
  </p:handoutMasterIdLst>
  <p:sldIdLst>
    <p:sldId id="369" r:id="rId5"/>
    <p:sldId id="1547" r:id="rId6"/>
    <p:sldId id="1574" r:id="rId7"/>
    <p:sldId id="1546" r:id="rId8"/>
    <p:sldId id="1571" r:id="rId9"/>
    <p:sldId id="1563" r:id="rId10"/>
    <p:sldId id="1575" r:id="rId11"/>
  </p:sldIdLst>
  <p:sldSz cx="12192000" cy="6858000"/>
  <p:notesSz cx="6858000" cy="91440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Montserrat" pitchFamily="2" charset="77"/>
      <p:regular r:id="rId18"/>
      <p:bold r:id="rId19"/>
      <p:italic r:id="rId20"/>
      <p:boldItalic r:id="rId21"/>
    </p:embeddedFont>
    <p:embeddedFont>
      <p:font typeface="Montserrat Light" pitchFamily="2" charset="77"/>
      <p:regular r:id="rId22"/>
      <p:italic r:id="rId23"/>
    </p:embeddedFont>
    <p:embeddedFont>
      <p:font typeface="Montserrat Medium" pitchFamily="2" charset="77"/>
      <p:regular r:id="rId24"/>
      <p:italic r:id="rId25"/>
    </p:embeddedFont>
    <p:embeddedFont>
      <p:font typeface="Montserrat SemiBold" pitchFamily="2" charset="77"/>
      <p:regular r:id="rId26"/>
      <p:bold r:id="rId27"/>
      <p:italic r:id="rId28"/>
      <p:boldItalic r:id="rId29"/>
    </p:embeddedFont>
  </p:embeddedFontLst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144" userDrawn="1">
          <p15:clr>
            <a:srgbClr val="A4A3A4"/>
          </p15:clr>
        </p15:guide>
        <p15:guide id="4" orient="horz" pos="528" userDrawn="1">
          <p15:clr>
            <a:srgbClr val="A4A3A4"/>
          </p15:clr>
        </p15:guide>
        <p15:guide id="5" pos="360" userDrawn="1">
          <p15:clr>
            <a:srgbClr val="A4A3A4"/>
          </p15:clr>
        </p15:guide>
        <p15:guide id="6" orient="horz" pos="218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Nairy, Ashley" initials="MA" lastIdx="1" clrIdx="0">
    <p:extLst>
      <p:ext uri="{19B8F6BF-5375-455C-9EA6-DF929625EA0E}">
        <p15:presenceInfo xmlns:p15="http://schemas.microsoft.com/office/powerpoint/2012/main" userId="S::ashley.mcnairy@cotiviti.com::eef08808-7a1f-4a69-9a55-522e36f515c7" providerId="AD"/>
      </p:ext>
    </p:extLst>
  </p:cmAuthor>
  <p:cmAuthor id="2" name="Costello, David" initials="CD" lastIdx="14" clrIdx="1">
    <p:extLst>
      <p:ext uri="{19B8F6BF-5375-455C-9EA6-DF929625EA0E}">
        <p15:presenceInfo xmlns:p15="http://schemas.microsoft.com/office/powerpoint/2012/main" userId="S::David.Costello@cotiviti.com::4dbb3db4-d546-4990-a46c-33176553816c" providerId="AD"/>
      </p:ext>
    </p:extLst>
  </p:cmAuthor>
  <p:cmAuthor id="3" name="Weitnauer, Mo" initials="WM" lastIdx="28" clrIdx="2">
    <p:extLst>
      <p:ext uri="{19B8F6BF-5375-455C-9EA6-DF929625EA0E}">
        <p15:presenceInfo xmlns:p15="http://schemas.microsoft.com/office/powerpoint/2012/main" userId="S::moliehi.weitnauer@cotiviti.com::b6e5f333-c104-42db-9213-41602e080ff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8120"/>
    <a:srgbClr val="EEE717"/>
    <a:srgbClr val="A4D55F"/>
    <a:srgbClr val="0DD0C9"/>
    <a:srgbClr val="00AEEF"/>
    <a:srgbClr val="A3E759"/>
    <a:srgbClr val="FFF2F7"/>
    <a:srgbClr val="D8D7EB"/>
    <a:srgbClr val="FF91D2"/>
    <a:srgbClr val="FFDD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456E8B3-849B-AE49-BDFB-3CCF62197205}" v="12" dt="2021-10-04T15:16:43.944"/>
  </p1510:revLst>
</p1510:revInfo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248"/>
    <p:restoredTop sz="94638"/>
  </p:normalViewPr>
  <p:slideViewPr>
    <p:cSldViewPr snapToGrid="0">
      <p:cViewPr varScale="1">
        <p:scale>
          <a:sx n="113" d="100"/>
          <a:sy n="113" d="100"/>
        </p:scale>
        <p:origin x="736" y="184"/>
      </p:cViewPr>
      <p:guideLst>
        <p:guide pos="3840"/>
        <p:guide orient="horz" pos="144"/>
        <p:guide orient="horz" pos="528"/>
        <p:guide pos="360"/>
        <p:guide orient="horz" pos="218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font" Target="fonts/font13.fntdata"/><Relationship Id="rId21" Type="http://schemas.openxmlformats.org/officeDocument/2006/relationships/font" Target="fonts/font8.fntdata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font" Target="fonts/font16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11.fntdata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font" Target="fonts/font15.fntdata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font" Target="fonts/font6.fntdata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font" Target="fonts/font14.fntdata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viston, Brylan" userId="dab4f39f-b507-473b-a5cb-8928451da8df" providerId="ADAL" clId="{F456E8B3-849B-AE49-BDFB-3CCF62197205}"/>
    <pc:docChg chg="undo custSel addSld delSld modSld sldOrd">
      <pc:chgData name="Leviston, Brylan" userId="dab4f39f-b507-473b-a5cb-8928451da8df" providerId="ADAL" clId="{F456E8B3-849B-AE49-BDFB-3CCF62197205}" dt="2021-10-04T15:27:42.553" v="966" actId="20577"/>
      <pc:docMkLst>
        <pc:docMk/>
      </pc:docMkLst>
      <pc:sldChg chg="modSp mod">
        <pc:chgData name="Leviston, Brylan" userId="dab4f39f-b507-473b-a5cb-8928451da8df" providerId="ADAL" clId="{F456E8B3-849B-AE49-BDFB-3CCF62197205}" dt="2021-10-04T15:21:48.474" v="964" actId="113"/>
        <pc:sldMkLst>
          <pc:docMk/>
          <pc:sldMk cId="1289982970" sldId="369"/>
        </pc:sldMkLst>
        <pc:spChg chg="mod">
          <ac:chgData name="Leviston, Brylan" userId="dab4f39f-b507-473b-a5cb-8928451da8df" providerId="ADAL" clId="{F456E8B3-849B-AE49-BDFB-3CCF62197205}" dt="2021-10-04T15:21:48.474" v="964" actId="113"/>
          <ac:spMkLst>
            <pc:docMk/>
            <pc:sldMk cId="1289982970" sldId="369"/>
            <ac:spMk id="2" creationId="{88614249-2272-439E-95AB-BBAE1D8F3841}"/>
          </ac:spMkLst>
        </pc:spChg>
      </pc:sldChg>
      <pc:sldChg chg="del">
        <pc:chgData name="Leviston, Brylan" userId="dab4f39f-b507-473b-a5cb-8928451da8df" providerId="ADAL" clId="{F456E8B3-849B-AE49-BDFB-3CCF62197205}" dt="2021-10-04T15:09:16.542" v="943" actId="2696"/>
        <pc:sldMkLst>
          <pc:docMk/>
          <pc:sldMk cId="562977972" sldId="1546"/>
        </pc:sldMkLst>
      </pc:sldChg>
      <pc:sldChg chg="add">
        <pc:chgData name="Leviston, Brylan" userId="dab4f39f-b507-473b-a5cb-8928451da8df" providerId="ADAL" clId="{F456E8B3-849B-AE49-BDFB-3CCF62197205}" dt="2021-10-04T15:16:43.931" v="949"/>
        <pc:sldMkLst>
          <pc:docMk/>
          <pc:sldMk cId="647857515" sldId="1546"/>
        </pc:sldMkLst>
      </pc:sldChg>
      <pc:sldChg chg="addSp modSp mod">
        <pc:chgData name="Leviston, Brylan" userId="dab4f39f-b507-473b-a5cb-8928451da8df" providerId="ADAL" clId="{F456E8B3-849B-AE49-BDFB-3CCF62197205}" dt="2021-10-04T15:16:23.226" v="948" actId="20577"/>
        <pc:sldMkLst>
          <pc:docMk/>
          <pc:sldMk cId="640425662" sldId="1547"/>
        </pc:sldMkLst>
        <pc:spChg chg="mod">
          <ac:chgData name="Leviston, Brylan" userId="dab4f39f-b507-473b-a5cb-8928451da8df" providerId="ADAL" clId="{F456E8B3-849B-AE49-BDFB-3CCF62197205}" dt="2021-10-04T14:59:19.259" v="373" actId="1035"/>
          <ac:spMkLst>
            <pc:docMk/>
            <pc:sldMk cId="640425662" sldId="1547"/>
            <ac:spMk id="4" creationId="{04294BE0-A94A-5C4A-A968-EC6D190A1DD0}"/>
          </ac:spMkLst>
        </pc:spChg>
        <pc:spChg chg="mod">
          <ac:chgData name="Leviston, Brylan" userId="dab4f39f-b507-473b-a5cb-8928451da8df" providerId="ADAL" clId="{F456E8B3-849B-AE49-BDFB-3CCF62197205}" dt="2021-10-04T14:59:19.259" v="373" actId="1035"/>
          <ac:spMkLst>
            <pc:docMk/>
            <pc:sldMk cId="640425662" sldId="1547"/>
            <ac:spMk id="5" creationId="{2D3F0E65-1031-5840-B0A0-A72F3E3C7F04}"/>
          </ac:spMkLst>
        </pc:spChg>
        <pc:spChg chg="add mod">
          <ac:chgData name="Leviston, Brylan" userId="dab4f39f-b507-473b-a5cb-8928451da8df" providerId="ADAL" clId="{F456E8B3-849B-AE49-BDFB-3CCF62197205}" dt="2021-10-04T14:59:19.259" v="373" actId="1035"/>
          <ac:spMkLst>
            <pc:docMk/>
            <pc:sldMk cId="640425662" sldId="1547"/>
            <ac:spMk id="6" creationId="{3DE9FE0F-6BE0-0047-BA51-0F8001958525}"/>
          </ac:spMkLst>
        </pc:spChg>
        <pc:spChg chg="add mod">
          <ac:chgData name="Leviston, Brylan" userId="dab4f39f-b507-473b-a5cb-8928451da8df" providerId="ADAL" clId="{F456E8B3-849B-AE49-BDFB-3CCF62197205}" dt="2021-10-04T14:58:51.813" v="314" actId="164"/>
          <ac:spMkLst>
            <pc:docMk/>
            <pc:sldMk cId="640425662" sldId="1547"/>
            <ac:spMk id="7" creationId="{5C854D17-73C5-0040-9D36-F56B0AC378E1}"/>
          </ac:spMkLst>
        </pc:spChg>
        <pc:spChg chg="add mod">
          <ac:chgData name="Leviston, Brylan" userId="dab4f39f-b507-473b-a5cb-8928451da8df" providerId="ADAL" clId="{F456E8B3-849B-AE49-BDFB-3CCF62197205}" dt="2021-10-04T14:58:41.563" v="293" actId="164"/>
          <ac:spMkLst>
            <pc:docMk/>
            <pc:sldMk cId="640425662" sldId="1547"/>
            <ac:spMk id="8" creationId="{24AFB027-E846-E64B-A915-C88B5C5A22C2}"/>
          </ac:spMkLst>
        </pc:spChg>
        <pc:spChg chg="add mod">
          <ac:chgData name="Leviston, Brylan" userId="dab4f39f-b507-473b-a5cb-8928451da8df" providerId="ADAL" clId="{F456E8B3-849B-AE49-BDFB-3CCF62197205}" dt="2021-10-04T14:58:35.109" v="277" actId="164"/>
          <ac:spMkLst>
            <pc:docMk/>
            <pc:sldMk cId="640425662" sldId="1547"/>
            <ac:spMk id="9" creationId="{6C1B04B4-1614-0B45-9941-2E3F69CAD421}"/>
          </ac:spMkLst>
        </pc:spChg>
        <pc:spChg chg="add mod">
          <ac:chgData name="Leviston, Brylan" userId="dab4f39f-b507-473b-a5cb-8928451da8df" providerId="ADAL" clId="{F456E8B3-849B-AE49-BDFB-3CCF62197205}" dt="2021-10-04T15:16:23.226" v="948" actId="20577"/>
          <ac:spMkLst>
            <pc:docMk/>
            <pc:sldMk cId="640425662" sldId="1547"/>
            <ac:spMk id="19" creationId="{E6390D37-4627-1540-A54A-C43363F9591E}"/>
          </ac:spMkLst>
        </pc:spChg>
        <pc:grpChg chg="add mod">
          <ac:chgData name="Leviston, Brylan" userId="dab4f39f-b507-473b-a5cb-8928451da8df" providerId="ADAL" clId="{F456E8B3-849B-AE49-BDFB-3CCF62197205}" dt="2021-10-04T14:59:19.259" v="373" actId="1035"/>
          <ac:grpSpMkLst>
            <pc:docMk/>
            <pc:sldMk cId="640425662" sldId="1547"/>
            <ac:grpSpMk id="16" creationId="{DAF5AEFF-C83C-4C4B-AB43-3C7611633E14}"/>
          </ac:grpSpMkLst>
        </pc:grpChg>
        <pc:grpChg chg="add mod">
          <ac:chgData name="Leviston, Brylan" userId="dab4f39f-b507-473b-a5cb-8928451da8df" providerId="ADAL" clId="{F456E8B3-849B-AE49-BDFB-3CCF62197205}" dt="2021-10-04T14:59:19.259" v="373" actId="1035"/>
          <ac:grpSpMkLst>
            <pc:docMk/>
            <pc:sldMk cId="640425662" sldId="1547"/>
            <ac:grpSpMk id="17" creationId="{CAA8F3E4-347C-7642-875D-397A63D86669}"/>
          </ac:grpSpMkLst>
        </pc:grpChg>
        <pc:grpChg chg="add mod">
          <ac:chgData name="Leviston, Brylan" userId="dab4f39f-b507-473b-a5cb-8928451da8df" providerId="ADAL" clId="{F456E8B3-849B-AE49-BDFB-3CCF62197205}" dt="2021-10-04T14:59:19.259" v="373" actId="1035"/>
          <ac:grpSpMkLst>
            <pc:docMk/>
            <pc:sldMk cId="640425662" sldId="1547"/>
            <ac:grpSpMk id="18" creationId="{D56A309D-BDBA-3941-B41C-39A8CCEEADE1}"/>
          </ac:grpSpMkLst>
        </pc:grpChg>
        <pc:cxnChg chg="add mod">
          <ac:chgData name="Leviston, Brylan" userId="dab4f39f-b507-473b-a5cb-8928451da8df" providerId="ADAL" clId="{F456E8B3-849B-AE49-BDFB-3CCF62197205}" dt="2021-10-04T14:58:41.563" v="293" actId="164"/>
          <ac:cxnSpMkLst>
            <pc:docMk/>
            <pc:sldMk cId="640425662" sldId="1547"/>
            <ac:cxnSpMk id="11" creationId="{4B54744D-8ABE-D24C-911F-A43FFDC3DDA9}"/>
          </ac:cxnSpMkLst>
        </pc:cxnChg>
        <pc:cxnChg chg="add mod">
          <ac:chgData name="Leviston, Brylan" userId="dab4f39f-b507-473b-a5cb-8928451da8df" providerId="ADAL" clId="{F456E8B3-849B-AE49-BDFB-3CCF62197205}" dt="2021-10-04T14:58:51.813" v="314" actId="164"/>
          <ac:cxnSpMkLst>
            <pc:docMk/>
            <pc:sldMk cId="640425662" sldId="1547"/>
            <ac:cxnSpMk id="13" creationId="{66603ECB-B498-6A45-A6A3-357064D6BD50}"/>
          </ac:cxnSpMkLst>
        </pc:cxnChg>
        <pc:cxnChg chg="add mod">
          <ac:chgData name="Leviston, Brylan" userId="dab4f39f-b507-473b-a5cb-8928451da8df" providerId="ADAL" clId="{F456E8B3-849B-AE49-BDFB-3CCF62197205}" dt="2021-10-04T14:58:35.109" v="277" actId="164"/>
          <ac:cxnSpMkLst>
            <pc:docMk/>
            <pc:sldMk cId="640425662" sldId="1547"/>
            <ac:cxnSpMk id="15" creationId="{549AC08C-7DE3-BA42-A9B4-4F7AA0CD40DD}"/>
          </ac:cxnSpMkLst>
        </pc:cxnChg>
      </pc:sldChg>
      <pc:sldChg chg="del">
        <pc:chgData name="Leviston, Brylan" userId="dab4f39f-b507-473b-a5cb-8928451da8df" providerId="ADAL" clId="{F456E8B3-849B-AE49-BDFB-3CCF62197205}" dt="2021-10-04T14:53:29.194" v="0" actId="2696"/>
        <pc:sldMkLst>
          <pc:docMk/>
          <pc:sldMk cId="571713001" sldId="1552"/>
        </pc:sldMkLst>
      </pc:sldChg>
      <pc:sldChg chg="del">
        <pc:chgData name="Leviston, Brylan" userId="dab4f39f-b507-473b-a5cb-8928451da8df" providerId="ADAL" clId="{F456E8B3-849B-AE49-BDFB-3CCF62197205}" dt="2021-10-04T14:53:29.227" v="4" actId="2696"/>
        <pc:sldMkLst>
          <pc:docMk/>
          <pc:sldMk cId="999126897" sldId="1555"/>
        </pc:sldMkLst>
      </pc:sldChg>
      <pc:sldChg chg="del">
        <pc:chgData name="Leviston, Brylan" userId="dab4f39f-b507-473b-a5cb-8928451da8df" providerId="ADAL" clId="{F456E8B3-849B-AE49-BDFB-3CCF62197205}" dt="2021-10-04T14:53:29.316" v="9" actId="2696"/>
        <pc:sldMkLst>
          <pc:docMk/>
          <pc:sldMk cId="3052213885" sldId="1560"/>
        </pc:sldMkLst>
      </pc:sldChg>
      <pc:sldChg chg="del">
        <pc:chgData name="Leviston, Brylan" userId="dab4f39f-b507-473b-a5cb-8928451da8df" providerId="ADAL" clId="{F456E8B3-849B-AE49-BDFB-3CCF62197205}" dt="2021-10-04T14:53:29.384" v="11" actId="2696"/>
        <pc:sldMkLst>
          <pc:docMk/>
          <pc:sldMk cId="961624923" sldId="1561"/>
        </pc:sldMkLst>
      </pc:sldChg>
      <pc:sldChg chg="del">
        <pc:chgData name="Leviston, Brylan" userId="dab4f39f-b507-473b-a5cb-8928451da8df" providerId="ADAL" clId="{F456E8B3-849B-AE49-BDFB-3CCF62197205}" dt="2021-10-04T15:09:16.545" v="944" actId="2696"/>
        <pc:sldMkLst>
          <pc:docMk/>
          <pc:sldMk cId="1884987689" sldId="1563"/>
        </pc:sldMkLst>
      </pc:sldChg>
      <pc:sldChg chg="add">
        <pc:chgData name="Leviston, Brylan" userId="dab4f39f-b507-473b-a5cb-8928451da8df" providerId="ADAL" clId="{F456E8B3-849B-AE49-BDFB-3CCF62197205}" dt="2021-10-04T15:16:43.931" v="949"/>
        <pc:sldMkLst>
          <pc:docMk/>
          <pc:sldMk cId="4068626244" sldId="1563"/>
        </pc:sldMkLst>
      </pc:sldChg>
      <pc:sldChg chg="del">
        <pc:chgData name="Leviston, Brylan" userId="dab4f39f-b507-473b-a5cb-8928451da8df" providerId="ADAL" clId="{F456E8B3-849B-AE49-BDFB-3CCF62197205}" dt="2021-10-04T14:53:29.254" v="6" actId="2696"/>
        <pc:sldMkLst>
          <pc:docMk/>
          <pc:sldMk cId="569026885" sldId="1564"/>
        </pc:sldMkLst>
      </pc:sldChg>
      <pc:sldChg chg="del">
        <pc:chgData name="Leviston, Brylan" userId="dab4f39f-b507-473b-a5cb-8928451da8df" providerId="ADAL" clId="{F456E8B3-849B-AE49-BDFB-3CCF62197205}" dt="2021-10-04T14:53:29.426" v="12" actId="2696"/>
        <pc:sldMkLst>
          <pc:docMk/>
          <pc:sldMk cId="3590267938" sldId="1565"/>
        </pc:sldMkLst>
      </pc:sldChg>
      <pc:sldChg chg="del">
        <pc:chgData name="Leviston, Brylan" userId="dab4f39f-b507-473b-a5cb-8928451da8df" providerId="ADAL" clId="{F456E8B3-849B-AE49-BDFB-3CCF62197205}" dt="2021-10-04T14:53:29.251" v="5" actId="2696"/>
        <pc:sldMkLst>
          <pc:docMk/>
          <pc:sldMk cId="2228726531" sldId="1566"/>
        </pc:sldMkLst>
      </pc:sldChg>
      <pc:sldChg chg="del">
        <pc:chgData name="Leviston, Brylan" userId="dab4f39f-b507-473b-a5cb-8928451da8df" providerId="ADAL" clId="{F456E8B3-849B-AE49-BDFB-3CCF62197205}" dt="2021-10-04T14:53:29.301" v="7" actId="2696"/>
        <pc:sldMkLst>
          <pc:docMk/>
          <pc:sldMk cId="20575010" sldId="1567"/>
        </pc:sldMkLst>
      </pc:sldChg>
      <pc:sldChg chg="del">
        <pc:chgData name="Leviston, Brylan" userId="dab4f39f-b507-473b-a5cb-8928451da8df" providerId="ADAL" clId="{F456E8B3-849B-AE49-BDFB-3CCF62197205}" dt="2021-10-04T14:53:29.380" v="10" actId="2696"/>
        <pc:sldMkLst>
          <pc:docMk/>
          <pc:sldMk cId="263432779" sldId="1568"/>
        </pc:sldMkLst>
      </pc:sldChg>
      <pc:sldChg chg="del">
        <pc:chgData name="Leviston, Brylan" userId="dab4f39f-b507-473b-a5cb-8928451da8df" providerId="ADAL" clId="{F456E8B3-849B-AE49-BDFB-3CCF62197205}" dt="2021-10-04T14:53:29.209" v="1" actId="2696"/>
        <pc:sldMkLst>
          <pc:docMk/>
          <pc:sldMk cId="3860305554" sldId="1569"/>
        </pc:sldMkLst>
      </pc:sldChg>
      <pc:sldChg chg="del">
        <pc:chgData name="Leviston, Brylan" userId="dab4f39f-b507-473b-a5cb-8928451da8df" providerId="ADAL" clId="{F456E8B3-849B-AE49-BDFB-3CCF62197205}" dt="2021-10-04T14:53:29.218" v="2" actId="2696"/>
        <pc:sldMkLst>
          <pc:docMk/>
          <pc:sldMk cId="52319931" sldId="1570"/>
        </pc:sldMkLst>
      </pc:sldChg>
      <pc:sldChg chg="del">
        <pc:chgData name="Leviston, Brylan" userId="dab4f39f-b507-473b-a5cb-8928451da8df" providerId="ADAL" clId="{F456E8B3-849B-AE49-BDFB-3CCF62197205}" dt="2021-10-04T15:09:16.582" v="945" actId="2696"/>
        <pc:sldMkLst>
          <pc:docMk/>
          <pc:sldMk cId="95155311" sldId="1571"/>
        </pc:sldMkLst>
      </pc:sldChg>
      <pc:sldChg chg="add">
        <pc:chgData name="Leviston, Brylan" userId="dab4f39f-b507-473b-a5cb-8928451da8df" providerId="ADAL" clId="{F456E8B3-849B-AE49-BDFB-3CCF62197205}" dt="2021-10-04T15:16:43.931" v="949"/>
        <pc:sldMkLst>
          <pc:docMk/>
          <pc:sldMk cId="216238185" sldId="1571"/>
        </pc:sldMkLst>
      </pc:sldChg>
      <pc:sldChg chg="del">
        <pc:chgData name="Leviston, Brylan" userId="dab4f39f-b507-473b-a5cb-8928451da8df" providerId="ADAL" clId="{F456E8B3-849B-AE49-BDFB-3CCF62197205}" dt="2021-10-04T14:53:29.306" v="8" actId="2696"/>
        <pc:sldMkLst>
          <pc:docMk/>
          <pc:sldMk cId="2432626388" sldId="1572"/>
        </pc:sldMkLst>
      </pc:sldChg>
      <pc:sldChg chg="del">
        <pc:chgData name="Leviston, Brylan" userId="dab4f39f-b507-473b-a5cb-8928451da8df" providerId="ADAL" clId="{F456E8B3-849B-AE49-BDFB-3CCF62197205}" dt="2021-10-04T14:53:29.224" v="3" actId="2696"/>
        <pc:sldMkLst>
          <pc:docMk/>
          <pc:sldMk cId="578343697" sldId="1573"/>
        </pc:sldMkLst>
      </pc:sldChg>
      <pc:sldChg chg="modSp mod ord">
        <pc:chgData name="Leviston, Brylan" userId="dab4f39f-b507-473b-a5cb-8928451da8df" providerId="ADAL" clId="{F456E8B3-849B-AE49-BDFB-3CCF62197205}" dt="2021-10-04T15:27:42.553" v="966" actId="20577"/>
        <pc:sldMkLst>
          <pc:docMk/>
          <pc:sldMk cId="2303526682" sldId="1574"/>
        </pc:sldMkLst>
        <pc:spChg chg="mod">
          <ac:chgData name="Leviston, Brylan" userId="dab4f39f-b507-473b-a5cb-8928451da8df" providerId="ADAL" clId="{F456E8B3-849B-AE49-BDFB-3CCF62197205}" dt="2021-10-04T15:27:42.553" v="966" actId="20577"/>
          <ac:spMkLst>
            <pc:docMk/>
            <pc:sldMk cId="2303526682" sldId="1574"/>
            <ac:spMk id="3" creationId="{FFB02E13-93B4-FD47-B3B4-2216B21775C2}"/>
          </ac:spMkLst>
        </pc:spChg>
        <pc:spChg chg="mod">
          <ac:chgData name="Leviston, Brylan" userId="dab4f39f-b507-473b-a5cb-8928451da8df" providerId="ADAL" clId="{F456E8B3-849B-AE49-BDFB-3CCF62197205}" dt="2021-10-04T15:04:10.284" v="532" actId="20577"/>
          <ac:spMkLst>
            <pc:docMk/>
            <pc:sldMk cId="2303526682" sldId="1574"/>
            <ac:spMk id="43" creationId="{4D4529D2-01AB-1445-99F4-CDF9DE1C5ECC}"/>
          </ac:spMkLst>
        </pc:spChg>
      </pc:sldChg>
      <pc:sldChg chg="addSp delSp modSp new mod">
        <pc:chgData name="Leviston, Brylan" userId="dab4f39f-b507-473b-a5cb-8928451da8df" providerId="ADAL" clId="{F456E8B3-849B-AE49-BDFB-3CCF62197205}" dt="2021-10-04T15:08:53.835" v="942" actId="20577"/>
        <pc:sldMkLst>
          <pc:docMk/>
          <pc:sldMk cId="2810414924" sldId="1575"/>
        </pc:sldMkLst>
        <pc:spChg chg="add mod">
          <ac:chgData name="Leviston, Brylan" userId="dab4f39f-b507-473b-a5cb-8928451da8df" providerId="ADAL" clId="{F456E8B3-849B-AE49-BDFB-3CCF62197205}" dt="2021-10-04T15:04:55.870" v="557" actId="113"/>
          <ac:spMkLst>
            <pc:docMk/>
            <pc:sldMk cId="2810414924" sldId="1575"/>
            <ac:spMk id="3" creationId="{6E12BC4B-1802-9D48-A89B-649BA5E4FC96}"/>
          </ac:spMkLst>
        </pc:spChg>
        <pc:spChg chg="add del mod">
          <ac:chgData name="Leviston, Brylan" userId="dab4f39f-b507-473b-a5cb-8928451da8df" providerId="ADAL" clId="{F456E8B3-849B-AE49-BDFB-3CCF62197205}" dt="2021-10-04T15:07:06.524" v="795" actId="20577"/>
          <ac:spMkLst>
            <pc:docMk/>
            <pc:sldMk cId="2810414924" sldId="1575"/>
            <ac:spMk id="4" creationId="{C4EE2105-A28C-C844-ACFF-80C29C1B6003}"/>
          </ac:spMkLst>
        </pc:spChg>
        <pc:spChg chg="add mod">
          <ac:chgData name="Leviston, Brylan" userId="dab4f39f-b507-473b-a5cb-8928451da8df" providerId="ADAL" clId="{F456E8B3-849B-AE49-BDFB-3CCF62197205}" dt="2021-10-04T15:08:53.835" v="942" actId="20577"/>
          <ac:spMkLst>
            <pc:docMk/>
            <pc:sldMk cId="2810414924" sldId="1575"/>
            <ac:spMk id="5" creationId="{C1433FBC-A495-284E-9306-949A8CA80DFD}"/>
          </ac:spMkLst>
        </pc:spChg>
        <pc:spChg chg="add mod">
          <ac:chgData name="Leviston, Brylan" userId="dab4f39f-b507-473b-a5cb-8928451da8df" providerId="ADAL" clId="{F456E8B3-849B-AE49-BDFB-3CCF62197205}" dt="2021-10-04T15:08:23.223" v="914" actId="20577"/>
          <ac:spMkLst>
            <pc:docMk/>
            <pc:sldMk cId="2810414924" sldId="1575"/>
            <ac:spMk id="6" creationId="{0213503E-62C8-6D4E-A444-760325EDB524}"/>
          </ac:spMkLst>
        </pc:spChg>
        <pc:spChg chg="add mod">
          <ac:chgData name="Leviston, Brylan" userId="dab4f39f-b507-473b-a5cb-8928451da8df" providerId="ADAL" clId="{F456E8B3-849B-AE49-BDFB-3CCF62197205}" dt="2021-10-04T15:08:33.662" v="915" actId="12789"/>
          <ac:spMkLst>
            <pc:docMk/>
            <pc:sldMk cId="2810414924" sldId="1575"/>
            <ac:spMk id="7" creationId="{15CC06AE-999D-F048-BA14-3BAE8BAB1D73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BB894-E1A7-FD43-A252-8B5A60C1F34A}" type="datetimeFigureOut">
              <a:rPr lang="en-US" smtClean="0"/>
              <a:t>10/4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DFAEE0-8029-A94B-802A-8A286C4D3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32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08FC6-91E6-4FF4-91B0-110CA1AA77DC}" type="datetimeFigureOut">
              <a:rPr lang="en-US" smtClean="0"/>
              <a:t>10/4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6A8658-EB80-4DD7-A912-B2638ECE9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903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 – 3 Examples (Elli, QR…)</a:t>
            </a:r>
          </a:p>
          <a:p>
            <a:r>
              <a:rPr lang="en-US" dirty="0"/>
              <a:t>How easy is it to read? Brief time frame, easy to interpr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682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8068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8379F1-3214-4C04-AE2D-035042A9E5D7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450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8379F1-3214-4C04-AE2D-035042A9E5D7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67871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8379F1-3214-4C04-AE2D-035042A9E5D7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400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ED0247B2-2830-864A-B87F-E2E644B9FF34}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7234A3-DC02-5549-9EF7-01E25E04FDBA}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1 Cotiviti, Inc. All rights reserved. All proprietary information shall remain the sole and exclusive property of Cotiviti, Inc.</a:t>
            </a:r>
            <a:endParaRPr lang="en-US" sz="100" kern="120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48B406-4B66-455A-B810-8115BA7BC3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415493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F48B406-4B66-455A-B810-8115BA7BC3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737D1AB-AF46-4CA8-AB3B-2D6F47FE971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25" y="2295728"/>
            <a:ext cx="7072233" cy="1253627"/>
          </a:xfrm>
          <a:noFill/>
        </p:spPr>
        <p:txBody>
          <a:bodyPr anchor="b">
            <a:noAutofit/>
          </a:bodyPr>
          <a:lstStyle>
            <a:lvl1pPr algn="l">
              <a:defRPr sz="3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725" y="3774310"/>
            <a:ext cx="7072233" cy="508228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A16EF6-DD93-7543-B634-BFCA85E958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331546"/>
            <a:ext cx="4161982" cy="16007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148FD5A-B970-F14F-BEE4-A4D1E8B3628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462" y="69413"/>
            <a:ext cx="1535484" cy="84262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188D9FA-2B0B-1144-88EC-388CEC9CC0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91455" y="6350141"/>
            <a:ext cx="1625600" cy="62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594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2B2964C-36DB-4F3D-A85E-783F6D118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7A94C32-D8CA-41FE-B71A-1636268B15EF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D21ACF2-2A83-47AB-862B-FCD6D86EAFFC}"/>
                </a:ext>
              </a:extLst>
            </p:cNvPr>
            <p:cNvSpPr/>
            <p:nvPr userDrawn="1"/>
          </p:nvSpPr>
          <p:spPr>
            <a:xfrm flipH="1">
              <a:off x="5755944" y="438149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45E0160-3614-470C-BDFC-C1F123CD4C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1459"/>
            <a:stretch/>
          </p:blipFill>
          <p:spPr>
            <a:xfrm>
              <a:off x="6366796" y="806298"/>
              <a:ext cx="4821157" cy="4751832"/>
            </a:xfrm>
            <a:prstGeom prst="rect">
              <a:avLst/>
            </a:prstGeom>
            <a:effectLst/>
          </p:spPr>
        </p:pic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3155F66-6627-2142-9FE9-0A2FB8FA2A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91BFA8A-1374-7E42-BF58-FA4EBB2A3F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694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0FD60D-40F7-4304-95DF-836FE49882B9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679ADEB-039C-40F5-B059-9154B51740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2B2964C-36DB-4F3D-A85E-783F6D118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7A94C32-D8CA-41FE-B71A-1636268B15EF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DD21ACF2-2A83-47AB-862B-FCD6D86EAFFC}"/>
                </a:ext>
              </a:extLst>
            </p:cNvPr>
            <p:cNvSpPr/>
            <p:nvPr userDrawn="1"/>
          </p:nvSpPr>
          <p:spPr>
            <a:xfrm flipH="1">
              <a:off x="5755944" y="448088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45E0160-3614-470C-BDFC-C1F123CD4C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325"/>
            <a:stretch/>
          </p:blipFill>
          <p:spPr>
            <a:xfrm>
              <a:off x="6595177" y="1070630"/>
              <a:ext cx="4237151" cy="4447022"/>
            </a:xfrm>
            <a:prstGeom prst="rect">
              <a:avLst/>
            </a:prstGeom>
            <a:effectLst/>
          </p:spPr>
        </p:pic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84EBAC0E-9689-47B2-85A9-134D716EB72B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FC13F38-1960-B442-B8B7-79F5E42512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D3CD320-F075-3748-8F3D-2DB96F27F7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8593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2" name="Circle: Hollow 431">
            <a:extLst>
              <a:ext uri="{FF2B5EF4-FFF2-40B4-BE49-F238E27FC236}">
                <a16:creationId xmlns:a16="http://schemas.microsoft.com/office/drawing/2014/main" id="{99728016-7034-4B32-8745-F6D2F9AAF4A3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99" name="Circle: Hollow 98">
            <a:extLst>
              <a:ext uri="{FF2B5EF4-FFF2-40B4-BE49-F238E27FC236}">
                <a16:creationId xmlns:a16="http://schemas.microsoft.com/office/drawing/2014/main" id="{ACA7BEC7-3B68-4B03-84EE-953CE6D834E3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429" name="Freeform: Shape 428">
            <a:extLst>
              <a:ext uri="{FF2B5EF4-FFF2-40B4-BE49-F238E27FC236}">
                <a16:creationId xmlns:a16="http://schemas.microsoft.com/office/drawing/2014/main" id="{C2B1A486-EC5A-491C-9BB8-CCFAEEE9592B}"/>
              </a:ext>
            </a:extLst>
          </p:cNvPr>
          <p:cNvSpPr/>
          <p:nvPr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7ACE861C-B5D9-4C71-939C-935BDDA99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524" y="10422"/>
            <a:ext cx="5708853" cy="6845147"/>
          </a:xfrm>
          <a:prstGeom prst="rect">
            <a:avLst/>
          </a:prstGeom>
          <a:effectLst/>
        </p:spPr>
      </p:pic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3823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Circle: Hollow 431">
            <a:extLst>
              <a:ext uri="{FF2B5EF4-FFF2-40B4-BE49-F238E27FC236}">
                <a16:creationId xmlns:a16="http://schemas.microsoft.com/office/drawing/2014/main" id="{469AD368-1377-F045-80F7-74398DE7EB2A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4" name="Circle: Hollow 98">
            <a:extLst>
              <a:ext uri="{FF2B5EF4-FFF2-40B4-BE49-F238E27FC236}">
                <a16:creationId xmlns:a16="http://schemas.microsoft.com/office/drawing/2014/main" id="{38FA9ECD-DD95-8F4D-A98D-35CCEC4338A4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Freeform: Shape 428">
            <a:extLst>
              <a:ext uri="{FF2B5EF4-FFF2-40B4-BE49-F238E27FC236}">
                <a16:creationId xmlns:a16="http://schemas.microsoft.com/office/drawing/2014/main" id="{2E6E8306-4C45-584C-9225-8653BEEFD53C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Circle: Hollow 429">
            <a:extLst>
              <a:ext uri="{FF2B5EF4-FFF2-40B4-BE49-F238E27FC236}">
                <a16:creationId xmlns:a16="http://schemas.microsoft.com/office/drawing/2014/main" id="{BDA9392A-9839-124B-8A4C-DEF2DFFCFCC7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DD9CC3-F522-5240-B04B-5FD2198C656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40866" y="-51094"/>
            <a:ext cx="8503920" cy="841248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4284700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15FAE27-BA94-E240-8F71-430FC64F55C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40866" y="-51094"/>
            <a:ext cx="8503920" cy="8412480"/>
          </a:xfrm>
          <a:prstGeom prst="rect">
            <a:avLst/>
          </a:prstGeom>
          <a:effectLst/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64DAAD5-C2C5-4B95-9740-9BDDDA246172}"/>
              </a:ext>
            </a:extLst>
          </p:cNvPr>
          <p:cNvSpPr/>
          <p:nvPr userDrawn="1"/>
        </p:nvSpPr>
        <p:spPr>
          <a:xfrm flipV="1">
            <a:off x="0" y="-1288"/>
            <a:ext cx="12192000" cy="6858000"/>
          </a:xfrm>
          <a:custGeom>
            <a:avLst/>
            <a:gdLst>
              <a:gd name="connsiteX0" fmla="*/ 4892433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999 h 6858000"/>
              <a:gd name="connsiteX3" fmla="*/ 7112000 w 12192000"/>
              <a:gd name="connsiteY3" fmla="*/ 6857999 h 6858000"/>
              <a:gd name="connsiteX4" fmla="*/ 6096000 w 12192000"/>
              <a:gd name="connsiteY4" fmla="*/ 6857999 h 6858000"/>
              <a:gd name="connsiteX5" fmla="*/ 5548505 w 12192000"/>
              <a:gd name="connsiteY5" fmla="*/ 6857999 h 6858000"/>
              <a:gd name="connsiteX6" fmla="*/ 5548504 w 12192000"/>
              <a:gd name="connsiteY6" fmla="*/ 6858000 h 6858000"/>
              <a:gd name="connsiteX7" fmla="*/ 0 w 12192000"/>
              <a:gd name="connsiteY7" fmla="*/ 6858000 h 6858000"/>
              <a:gd name="connsiteX8" fmla="*/ 0 w 12192000"/>
              <a:gd name="connsiteY8" fmla="*/ 4953304 h 6858000"/>
              <a:gd name="connsiteX9" fmla="*/ 236754 w 12192000"/>
              <a:gd name="connsiteY9" fmla="*/ 5130345 h 6858000"/>
              <a:gd name="connsiteX10" fmla="*/ 2193559 w 12192000"/>
              <a:gd name="connsiteY10" fmla="*/ 5728066 h 6858000"/>
              <a:gd name="connsiteX11" fmla="*/ 5693420 w 12192000"/>
              <a:gd name="connsiteY11" fmla="*/ 2228205 h 6858000"/>
              <a:gd name="connsiteX12" fmla="*/ 4894222 w 12192000"/>
              <a:gd name="connsiteY12" fmla="*/ 19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4892433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7112000" y="6857999"/>
                </a:lnTo>
                <a:lnTo>
                  <a:pt x="6096000" y="6857999"/>
                </a:lnTo>
                <a:lnTo>
                  <a:pt x="5548505" y="6857999"/>
                </a:lnTo>
                <a:lnTo>
                  <a:pt x="5548504" y="6858000"/>
                </a:lnTo>
                <a:lnTo>
                  <a:pt x="0" y="6858000"/>
                </a:lnTo>
                <a:lnTo>
                  <a:pt x="0" y="4953304"/>
                </a:lnTo>
                <a:lnTo>
                  <a:pt x="236754" y="5130345"/>
                </a:lnTo>
                <a:cubicBezTo>
                  <a:pt x="795335" y="5507715"/>
                  <a:pt x="1468714" y="5728066"/>
                  <a:pt x="2193559" y="5728066"/>
                </a:cubicBezTo>
                <a:cubicBezTo>
                  <a:pt x="4126479" y="5728066"/>
                  <a:pt x="5693420" y="4161125"/>
                  <a:pt x="5693420" y="2228205"/>
                </a:cubicBezTo>
                <a:cubicBezTo>
                  <a:pt x="5693420" y="1382553"/>
                  <a:pt x="5393498" y="606951"/>
                  <a:pt x="4894222" y="19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C73C0-FD7C-49DF-B2BC-1222FCFC0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284" y="519201"/>
            <a:ext cx="6679261" cy="1163955"/>
          </a:xfrm>
        </p:spPr>
        <p:txBody>
          <a:bodyPr lIns="36000" rIns="0" anchor="ctr">
            <a:noAutofit/>
          </a:bodyPr>
          <a:lstStyle>
            <a:lvl1pPr algn="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itle Block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F1A5B1-7950-41B4-A0A3-91FEE2C6B3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1853" y="1857502"/>
            <a:ext cx="4983692" cy="361054"/>
          </a:xfrm>
          <a:prstGeom prst="rect">
            <a:avLst/>
          </a:prstGeom>
        </p:spPr>
        <p:txBody>
          <a:bodyPr lIns="36000" rIns="0" anchor="ctr"/>
          <a:lstStyle>
            <a:lvl1pPr marL="0" indent="0" algn="r">
              <a:buNone/>
              <a:defRPr sz="24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nsert Date</a:t>
            </a:r>
            <a:endParaRPr lang="en-GB"/>
          </a:p>
        </p:txBody>
      </p:sp>
      <p:sp>
        <p:nvSpPr>
          <p:cNvPr id="430" name="Circle: Hollow 429">
            <a:extLst>
              <a:ext uri="{FF2B5EF4-FFF2-40B4-BE49-F238E27FC236}">
                <a16:creationId xmlns:a16="http://schemas.microsoft.com/office/drawing/2014/main" id="{4FBE3FB6-1C75-477E-A1DD-DA5AC0C318E0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435" name="Picture 434">
            <a:extLst>
              <a:ext uri="{FF2B5EF4-FFF2-40B4-BE49-F238E27FC236}">
                <a16:creationId xmlns:a16="http://schemas.microsoft.com/office/drawing/2014/main" id="{F24568CF-2282-4703-A746-7621B6486D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61" y="6011456"/>
            <a:ext cx="3547925" cy="428943"/>
          </a:xfrm>
          <a:prstGeom prst="rect">
            <a:avLst/>
          </a:prstGeom>
        </p:spPr>
      </p:pic>
      <p:sp>
        <p:nvSpPr>
          <p:cNvPr id="438" name="Rectangle 437">
            <a:extLst>
              <a:ext uri="{FF2B5EF4-FFF2-40B4-BE49-F238E27FC236}">
                <a16:creationId xmlns:a16="http://schemas.microsoft.com/office/drawing/2014/main" id="{1E14E943-0B80-4EAF-83E1-21AC22C53993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Circle: Hollow 429">
            <a:extLst>
              <a:ext uri="{FF2B5EF4-FFF2-40B4-BE49-F238E27FC236}">
                <a16:creationId xmlns:a16="http://schemas.microsoft.com/office/drawing/2014/main" id="{105B1B46-5B5A-6A48-909F-BD23D5F428BE}"/>
              </a:ext>
            </a:extLst>
          </p:cNvPr>
          <p:cNvSpPr/>
          <p:nvPr userDrawn="1"/>
        </p:nvSpPr>
        <p:spPr>
          <a:xfrm flipV="1">
            <a:off x="-1489805" y="944243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E00245-F8EF-9844-97B2-F0BBC4524419}"/>
              </a:ext>
            </a:extLst>
          </p:cNvPr>
          <p:cNvSpPr/>
          <p:nvPr userDrawn="1"/>
        </p:nvSpPr>
        <p:spPr>
          <a:xfrm>
            <a:off x="11815564" y="590321"/>
            <a:ext cx="58844" cy="16196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5" name="Circle: Hollow 431">
            <a:extLst>
              <a:ext uri="{FF2B5EF4-FFF2-40B4-BE49-F238E27FC236}">
                <a16:creationId xmlns:a16="http://schemas.microsoft.com/office/drawing/2014/main" id="{720C4F33-3673-CC4A-A8C2-528A031C9873}"/>
              </a:ext>
            </a:extLst>
          </p:cNvPr>
          <p:cNvSpPr/>
          <p:nvPr userDrawn="1"/>
        </p:nvSpPr>
        <p:spPr>
          <a:xfrm flipV="1">
            <a:off x="-3190202" y="-719611"/>
            <a:ext cx="10738580" cy="10738578"/>
          </a:xfrm>
          <a:prstGeom prst="donut">
            <a:avLst>
              <a:gd name="adj" fmla="val 1738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6" name="Circle: Hollow 98">
            <a:extLst>
              <a:ext uri="{FF2B5EF4-FFF2-40B4-BE49-F238E27FC236}">
                <a16:creationId xmlns:a16="http://schemas.microsoft.com/office/drawing/2014/main" id="{120E5B84-0E72-E944-A39F-0127B9C1D501}"/>
              </a:ext>
            </a:extLst>
          </p:cNvPr>
          <p:cNvSpPr/>
          <p:nvPr userDrawn="1"/>
        </p:nvSpPr>
        <p:spPr>
          <a:xfrm flipV="1">
            <a:off x="-3016981" y="-582034"/>
            <a:ext cx="10421082" cy="10421080"/>
          </a:xfrm>
          <a:prstGeom prst="donut">
            <a:avLst>
              <a:gd name="adj" fmla="val 1642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Freeform: Shape 428">
            <a:extLst>
              <a:ext uri="{FF2B5EF4-FFF2-40B4-BE49-F238E27FC236}">
                <a16:creationId xmlns:a16="http://schemas.microsoft.com/office/drawing/2014/main" id="{CF40E8C4-45D3-F245-A248-51D54B40CB71}"/>
              </a:ext>
            </a:extLst>
          </p:cNvPr>
          <p:cNvSpPr/>
          <p:nvPr userDrawn="1"/>
        </p:nvSpPr>
        <p:spPr>
          <a:xfrm>
            <a:off x="-3016981" y="-569731"/>
            <a:ext cx="10375356" cy="10394676"/>
          </a:xfrm>
          <a:custGeom>
            <a:avLst/>
            <a:gdLst>
              <a:gd name="connsiteX0" fmla="*/ 6202887 w 10375356"/>
              <a:gd name="connsiteY0" fmla="*/ 10086957 h 10394676"/>
              <a:gd name="connsiteX1" fmla="*/ 6713710 w 10375356"/>
              <a:gd name="connsiteY1" fmla="*/ 10086957 h 10394676"/>
              <a:gd name="connsiteX2" fmla="*/ 6713710 w 10375356"/>
              <a:gd name="connsiteY2" fmla="*/ 10187665 h 10394676"/>
              <a:gd name="connsiteX3" fmla="*/ 6709472 w 10375356"/>
              <a:gd name="connsiteY3" fmla="*/ 10188869 h 10394676"/>
              <a:gd name="connsiteX4" fmla="*/ 6202887 w 10375356"/>
              <a:gd name="connsiteY4" fmla="*/ 10188869 h 10394676"/>
              <a:gd name="connsiteX5" fmla="*/ 5634740 w 10375356"/>
              <a:gd name="connsiteY5" fmla="*/ 9974857 h 10394676"/>
              <a:gd name="connsiteX6" fmla="*/ 5471684 w 10375356"/>
              <a:gd name="connsiteY6" fmla="*/ 10137913 h 10394676"/>
              <a:gd name="connsiteX7" fmla="*/ 5634740 w 10375356"/>
              <a:gd name="connsiteY7" fmla="*/ 10300969 h 10394676"/>
              <a:gd name="connsiteX8" fmla="*/ 5797795 w 10375356"/>
              <a:gd name="connsiteY8" fmla="*/ 10137913 h 10394676"/>
              <a:gd name="connsiteX9" fmla="*/ 5634740 w 10375356"/>
              <a:gd name="connsiteY9" fmla="*/ 9974857 h 10394676"/>
              <a:gd name="connsiteX10" fmla="*/ 7232175 w 10375356"/>
              <a:gd name="connsiteY10" fmla="*/ 9881865 h 10394676"/>
              <a:gd name="connsiteX11" fmla="*/ 7334085 w 10375356"/>
              <a:gd name="connsiteY11" fmla="*/ 9881865 h 10394676"/>
              <a:gd name="connsiteX12" fmla="*/ 7334085 w 10375356"/>
              <a:gd name="connsiteY12" fmla="*/ 9956193 h 10394676"/>
              <a:gd name="connsiteX13" fmla="*/ 7238719 w 10375356"/>
              <a:gd name="connsiteY13" fmla="*/ 9999307 h 10394676"/>
              <a:gd name="connsiteX14" fmla="*/ 7232175 w 10375356"/>
              <a:gd name="connsiteY14" fmla="*/ 10001887 h 10394676"/>
              <a:gd name="connsiteX15" fmla="*/ 4751991 w 10375356"/>
              <a:gd name="connsiteY15" fmla="*/ 9881865 h 10394676"/>
              <a:gd name="connsiteX16" fmla="*/ 4853901 w 10375356"/>
              <a:gd name="connsiteY16" fmla="*/ 9881865 h 10394676"/>
              <a:gd name="connsiteX17" fmla="*/ 4853901 w 10375356"/>
              <a:gd name="connsiteY17" fmla="*/ 10290777 h 10394676"/>
              <a:gd name="connsiteX18" fmla="*/ 4751991 w 10375356"/>
              <a:gd name="connsiteY18" fmla="*/ 10290777 h 10394676"/>
              <a:gd name="connsiteX19" fmla="*/ 5636013 w 10375356"/>
              <a:gd name="connsiteY19" fmla="*/ 9872947 h 10394676"/>
              <a:gd name="connsiteX20" fmla="*/ 5900978 w 10375356"/>
              <a:gd name="connsiteY20" fmla="*/ 10137913 h 10394676"/>
              <a:gd name="connsiteX21" fmla="*/ 5739217 w 10375356"/>
              <a:gd name="connsiteY21" fmla="*/ 10382077 h 10394676"/>
              <a:gd name="connsiteX22" fmla="*/ 5738756 w 10375356"/>
              <a:gd name="connsiteY22" fmla="*/ 10382220 h 10394676"/>
              <a:gd name="connsiteX23" fmla="*/ 5574951 w 10375356"/>
              <a:gd name="connsiteY23" fmla="*/ 10394676 h 10394676"/>
              <a:gd name="connsiteX24" fmla="*/ 5532810 w 10375356"/>
              <a:gd name="connsiteY24" fmla="*/ 10381361 h 10394676"/>
              <a:gd name="connsiteX25" fmla="*/ 5371048 w 10375356"/>
              <a:gd name="connsiteY25" fmla="*/ 10137913 h 10394676"/>
              <a:gd name="connsiteX26" fmla="*/ 5636013 w 10375356"/>
              <a:gd name="connsiteY26" fmla="*/ 9872947 h 10394676"/>
              <a:gd name="connsiteX27" fmla="*/ 3978752 w 10375356"/>
              <a:gd name="connsiteY27" fmla="*/ 9872947 h 10394676"/>
              <a:gd name="connsiteX28" fmla="*/ 4243718 w 10375356"/>
              <a:gd name="connsiteY28" fmla="*/ 10137913 h 10394676"/>
              <a:gd name="connsiteX29" fmla="*/ 4222918 w 10375356"/>
              <a:gd name="connsiteY29" fmla="*/ 10241117 h 10394676"/>
              <a:gd name="connsiteX30" fmla="*/ 4179036 w 10375356"/>
              <a:gd name="connsiteY30" fmla="*/ 10306239 h 10394676"/>
              <a:gd name="connsiteX31" fmla="*/ 4160436 w 10375356"/>
              <a:gd name="connsiteY31" fmla="*/ 10302917 h 10394676"/>
              <a:gd name="connsiteX32" fmla="*/ 4056265 w 10375356"/>
              <a:gd name="connsiteY32" fmla="*/ 10278875 h 10394676"/>
              <a:gd name="connsiteX33" fmla="*/ 4094199 w 10375356"/>
              <a:gd name="connsiteY33" fmla="*/ 10253357 h 10394676"/>
              <a:gd name="connsiteX34" fmla="*/ 4141809 w 10375356"/>
              <a:gd name="connsiteY34" fmla="*/ 10137913 h 10394676"/>
              <a:gd name="connsiteX35" fmla="*/ 3978752 w 10375356"/>
              <a:gd name="connsiteY35" fmla="*/ 9974857 h 10394676"/>
              <a:gd name="connsiteX36" fmla="*/ 3815698 w 10375356"/>
              <a:gd name="connsiteY36" fmla="*/ 10137913 h 10394676"/>
              <a:gd name="connsiteX37" fmla="*/ 3828457 w 10375356"/>
              <a:gd name="connsiteY37" fmla="*/ 10201547 h 10394676"/>
              <a:gd name="connsiteX38" fmla="*/ 3845505 w 10375356"/>
              <a:gd name="connsiteY38" fmla="*/ 10226891 h 10394676"/>
              <a:gd name="connsiteX39" fmla="*/ 3724813 w 10375356"/>
              <a:gd name="connsiteY39" fmla="*/ 10192618 h 10394676"/>
              <a:gd name="connsiteX40" fmla="*/ 3713787 w 10375356"/>
              <a:gd name="connsiteY40" fmla="*/ 10137913 h 10394676"/>
              <a:gd name="connsiteX41" fmla="*/ 3978752 w 10375356"/>
              <a:gd name="connsiteY41" fmla="*/ 9872947 h 10394676"/>
              <a:gd name="connsiteX42" fmla="*/ 3155832 w 10375356"/>
              <a:gd name="connsiteY42" fmla="*/ 9872947 h 10394676"/>
              <a:gd name="connsiteX43" fmla="*/ 3399999 w 10375356"/>
              <a:gd name="connsiteY43" fmla="*/ 10034709 h 10394676"/>
              <a:gd name="connsiteX44" fmla="*/ 3411035 w 10375356"/>
              <a:gd name="connsiteY44" fmla="*/ 10089469 h 10394676"/>
              <a:gd name="connsiteX45" fmla="*/ 3280434 w 10375356"/>
              <a:gd name="connsiteY45" fmla="*/ 10037975 h 10394676"/>
              <a:gd name="connsiteX46" fmla="*/ 3270003 w 10375356"/>
              <a:gd name="connsiteY46" fmla="*/ 10022469 h 10394676"/>
              <a:gd name="connsiteX47" fmla="*/ 3154558 w 10375356"/>
              <a:gd name="connsiteY47" fmla="*/ 9974857 h 10394676"/>
              <a:gd name="connsiteX48" fmla="*/ 3136355 w 10375356"/>
              <a:gd name="connsiteY48" fmla="*/ 9978507 h 10394676"/>
              <a:gd name="connsiteX49" fmla="*/ 3005935 w 10375356"/>
              <a:gd name="connsiteY49" fmla="*/ 9919545 h 10394676"/>
              <a:gd name="connsiteX50" fmla="*/ 3007618 w 10375356"/>
              <a:gd name="connsiteY50" fmla="*/ 9918157 h 10394676"/>
              <a:gd name="connsiteX51" fmla="*/ 3155832 w 10375356"/>
              <a:gd name="connsiteY51" fmla="*/ 9872947 h 10394676"/>
              <a:gd name="connsiteX52" fmla="*/ 7851277 w 10375356"/>
              <a:gd name="connsiteY52" fmla="*/ 9262761 h 10394676"/>
              <a:gd name="connsiteX53" fmla="*/ 8362099 w 10375356"/>
              <a:gd name="connsiteY53" fmla="*/ 9262761 h 10394676"/>
              <a:gd name="connsiteX54" fmla="*/ 8362099 w 10375356"/>
              <a:gd name="connsiteY54" fmla="*/ 9346902 h 10394676"/>
              <a:gd name="connsiteX55" fmla="*/ 8339488 w 10375356"/>
              <a:gd name="connsiteY55" fmla="*/ 9364671 h 10394676"/>
              <a:gd name="connsiteX56" fmla="*/ 7851277 w 10375356"/>
              <a:gd name="connsiteY56" fmla="*/ 9364671 h 10394676"/>
              <a:gd name="connsiteX57" fmla="*/ 5379965 w 10375356"/>
              <a:gd name="connsiteY57" fmla="*/ 9262761 h 10394676"/>
              <a:gd name="connsiteX58" fmla="*/ 5890787 w 10375356"/>
              <a:gd name="connsiteY58" fmla="*/ 9262761 h 10394676"/>
              <a:gd name="connsiteX59" fmla="*/ 5890787 w 10375356"/>
              <a:gd name="connsiteY59" fmla="*/ 9364671 h 10394676"/>
              <a:gd name="connsiteX60" fmla="*/ 5379965 w 10375356"/>
              <a:gd name="connsiteY60" fmla="*/ 9364671 h 10394676"/>
              <a:gd name="connsiteX61" fmla="*/ 4546902 w 10375356"/>
              <a:gd name="connsiteY61" fmla="*/ 9262761 h 10394676"/>
              <a:gd name="connsiteX62" fmla="*/ 5057725 w 10375356"/>
              <a:gd name="connsiteY62" fmla="*/ 9262761 h 10394676"/>
              <a:gd name="connsiteX63" fmla="*/ 5057725 w 10375356"/>
              <a:gd name="connsiteY63" fmla="*/ 9364671 h 10394676"/>
              <a:gd name="connsiteX64" fmla="*/ 4546902 w 10375356"/>
              <a:gd name="connsiteY64" fmla="*/ 9364671 h 10394676"/>
              <a:gd name="connsiteX65" fmla="*/ 2899787 w 10375356"/>
              <a:gd name="connsiteY65" fmla="*/ 9262761 h 10394676"/>
              <a:gd name="connsiteX66" fmla="*/ 3410609 w 10375356"/>
              <a:gd name="connsiteY66" fmla="*/ 9262761 h 10394676"/>
              <a:gd name="connsiteX67" fmla="*/ 3410609 w 10375356"/>
              <a:gd name="connsiteY67" fmla="*/ 9364671 h 10394676"/>
              <a:gd name="connsiteX68" fmla="*/ 2899787 w 10375356"/>
              <a:gd name="connsiteY68" fmla="*/ 9364671 h 10394676"/>
              <a:gd name="connsiteX69" fmla="*/ 6450017 w 10375356"/>
              <a:gd name="connsiteY69" fmla="*/ 9150661 h 10394676"/>
              <a:gd name="connsiteX70" fmla="*/ 6286962 w 10375356"/>
              <a:gd name="connsiteY70" fmla="*/ 9313717 h 10394676"/>
              <a:gd name="connsiteX71" fmla="*/ 6450017 w 10375356"/>
              <a:gd name="connsiteY71" fmla="*/ 9476773 h 10394676"/>
              <a:gd name="connsiteX72" fmla="*/ 6613073 w 10375356"/>
              <a:gd name="connsiteY72" fmla="*/ 9313717 h 10394676"/>
              <a:gd name="connsiteX73" fmla="*/ 6450017 w 10375356"/>
              <a:gd name="connsiteY73" fmla="*/ 9150661 h 10394676"/>
              <a:gd name="connsiteX74" fmla="*/ 3978754 w 10375356"/>
              <a:gd name="connsiteY74" fmla="*/ 9150661 h 10394676"/>
              <a:gd name="connsiteX75" fmla="*/ 3815700 w 10375356"/>
              <a:gd name="connsiteY75" fmla="*/ 9313717 h 10394676"/>
              <a:gd name="connsiteX76" fmla="*/ 3978754 w 10375356"/>
              <a:gd name="connsiteY76" fmla="*/ 9476773 h 10394676"/>
              <a:gd name="connsiteX77" fmla="*/ 4141811 w 10375356"/>
              <a:gd name="connsiteY77" fmla="*/ 9313717 h 10394676"/>
              <a:gd name="connsiteX78" fmla="*/ 3978754 w 10375356"/>
              <a:gd name="connsiteY78" fmla="*/ 9150661 h 10394676"/>
              <a:gd name="connsiteX79" fmla="*/ 7232175 w 10375356"/>
              <a:gd name="connsiteY79" fmla="*/ 9057669 h 10394676"/>
              <a:gd name="connsiteX80" fmla="*/ 7334085 w 10375356"/>
              <a:gd name="connsiteY80" fmla="*/ 9057669 h 10394676"/>
              <a:gd name="connsiteX81" fmla="*/ 7334085 w 10375356"/>
              <a:gd name="connsiteY81" fmla="*/ 9568493 h 10394676"/>
              <a:gd name="connsiteX82" fmla="*/ 7232175 w 10375356"/>
              <a:gd name="connsiteY82" fmla="*/ 9568493 h 10394676"/>
              <a:gd name="connsiteX83" fmla="*/ 2280685 w 10375356"/>
              <a:gd name="connsiteY83" fmla="*/ 9057669 h 10394676"/>
              <a:gd name="connsiteX84" fmla="*/ 2382595 w 10375356"/>
              <a:gd name="connsiteY84" fmla="*/ 9057669 h 10394676"/>
              <a:gd name="connsiteX85" fmla="*/ 2382595 w 10375356"/>
              <a:gd name="connsiteY85" fmla="*/ 9568493 h 10394676"/>
              <a:gd name="connsiteX86" fmla="*/ 2374638 w 10375356"/>
              <a:gd name="connsiteY86" fmla="*/ 9568493 h 10394676"/>
              <a:gd name="connsiteX87" fmla="*/ 2297278 w 10375356"/>
              <a:gd name="connsiteY87" fmla="*/ 9518899 h 10394676"/>
              <a:gd name="connsiteX88" fmla="*/ 2280685 w 10375356"/>
              <a:gd name="connsiteY88" fmla="*/ 9507099 h 10394676"/>
              <a:gd name="connsiteX89" fmla="*/ 6450017 w 10375356"/>
              <a:gd name="connsiteY89" fmla="*/ 9048751 h 10394676"/>
              <a:gd name="connsiteX90" fmla="*/ 6714982 w 10375356"/>
              <a:gd name="connsiteY90" fmla="*/ 9313717 h 10394676"/>
              <a:gd name="connsiteX91" fmla="*/ 6450017 w 10375356"/>
              <a:gd name="connsiteY91" fmla="*/ 9578681 h 10394676"/>
              <a:gd name="connsiteX92" fmla="*/ 6185052 w 10375356"/>
              <a:gd name="connsiteY92" fmla="*/ 9313717 h 10394676"/>
              <a:gd name="connsiteX93" fmla="*/ 6450017 w 10375356"/>
              <a:gd name="connsiteY93" fmla="*/ 9048751 h 10394676"/>
              <a:gd name="connsiteX94" fmla="*/ 3978754 w 10375356"/>
              <a:gd name="connsiteY94" fmla="*/ 9048751 h 10394676"/>
              <a:gd name="connsiteX95" fmla="*/ 4243720 w 10375356"/>
              <a:gd name="connsiteY95" fmla="*/ 9313717 h 10394676"/>
              <a:gd name="connsiteX96" fmla="*/ 3978754 w 10375356"/>
              <a:gd name="connsiteY96" fmla="*/ 9578681 h 10394676"/>
              <a:gd name="connsiteX97" fmla="*/ 3713789 w 10375356"/>
              <a:gd name="connsiteY97" fmla="*/ 9313717 h 10394676"/>
              <a:gd name="connsiteX98" fmla="*/ 3978754 w 10375356"/>
              <a:gd name="connsiteY98" fmla="*/ 9048751 h 10394676"/>
              <a:gd name="connsiteX99" fmla="*/ 5676776 w 10375356"/>
              <a:gd name="connsiteY99" fmla="*/ 8665264 h 10394676"/>
              <a:gd name="connsiteX100" fmla="*/ 5676776 w 10375356"/>
              <a:gd name="connsiteY100" fmla="*/ 8745569 h 10394676"/>
              <a:gd name="connsiteX101" fmla="*/ 5574867 w 10375356"/>
              <a:gd name="connsiteY101" fmla="*/ 8745569 h 10394676"/>
              <a:gd name="connsiteX102" fmla="*/ 5574867 w 10375356"/>
              <a:gd name="connsiteY102" fmla="*/ 8678214 h 10394676"/>
              <a:gd name="connsiteX103" fmla="*/ 3918880 w 10375356"/>
              <a:gd name="connsiteY103" fmla="*/ 8449859 h 10394676"/>
              <a:gd name="connsiteX104" fmla="*/ 4007509 w 10375356"/>
              <a:gd name="connsiteY104" fmla="*/ 8484804 h 10394676"/>
              <a:gd name="connsiteX105" fmla="*/ 4020789 w 10375356"/>
              <a:gd name="connsiteY105" fmla="*/ 8489298 h 10394676"/>
              <a:gd name="connsiteX106" fmla="*/ 4020789 w 10375356"/>
              <a:gd name="connsiteY106" fmla="*/ 8745569 h 10394676"/>
              <a:gd name="connsiteX107" fmla="*/ 3918880 w 10375356"/>
              <a:gd name="connsiteY107" fmla="*/ 8745569 h 10394676"/>
              <a:gd name="connsiteX108" fmla="*/ 7018165 w 10375356"/>
              <a:gd name="connsiteY108" fmla="*/ 8438567 h 10394676"/>
              <a:gd name="connsiteX109" fmla="*/ 7528988 w 10375356"/>
              <a:gd name="connsiteY109" fmla="*/ 8438567 h 10394676"/>
              <a:gd name="connsiteX110" fmla="*/ 7528988 w 10375356"/>
              <a:gd name="connsiteY110" fmla="*/ 8540477 h 10394676"/>
              <a:gd name="connsiteX111" fmla="*/ 7018165 w 10375356"/>
              <a:gd name="connsiteY111" fmla="*/ 8540477 h 10394676"/>
              <a:gd name="connsiteX112" fmla="*/ 6530840 w 10375356"/>
              <a:gd name="connsiteY112" fmla="*/ 8438567 h 10394676"/>
              <a:gd name="connsiteX113" fmla="*/ 6697148 w 10375356"/>
              <a:gd name="connsiteY113" fmla="*/ 8438567 h 10394676"/>
              <a:gd name="connsiteX114" fmla="*/ 6697148 w 10375356"/>
              <a:gd name="connsiteY114" fmla="*/ 8540477 h 10394676"/>
              <a:gd name="connsiteX115" fmla="*/ 6248661 w 10375356"/>
              <a:gd name="connsiteY115" fmla="*/ 8540477 h 10394676"/>
              <a:gd name="connsiteX116" fmla="*/ 6251001 w 10375356"/>
              <a:gd name="connsiteY116" fmla="*/ 8539813 h 10394676"/>
              <a:gd name="connsiteX117" fmla="*/ 6413573 w 10375356"/>
              <a:gd name="connsiteY117" fmla="*/ 8484804 h 10394676"/>
              <a:gd name="connsiteX118" fmla="*/ 2066673 w 10375356"/>
              <a:gd name="connsiteY118" fmla="*/ 8438567 h 10394676"/>
              <a:gd name="connsiteX119" fmla="*/ 2577496 w 10375356"/>
              <a:gd name="connsiteY119" fmla="*/ 8438567 h 10394676"/>
              <a:gd name="connsiteX120" fmla="*/ 2577496 w 10375356"/>
              <a:gd name="connsiteY120" fmla="*/ 8540477 h 10394676"/>
              <a:gd name="connsiteX121" fmla="*/ 2066673 w 10375356"/>
              <a:gd name="connsiteY121" fmla="*/ 8540477 h 10394676"/>
              <a:gd name="connsiteX122" fmla="*/ 1234837 w 10375356"/>
              <a:gd name="connsiteY122" fmla="*/ 8438567 h 10394676"/>
              <a:gd name="connsiteX123" fmla="*/ 1745660 w 10375356"/>
              <a:gd name="connsiteY123" fmla="*/ 8438567 h 10394676"/>
              <a:gd name="connsiteX124" fmla="*/ 1745660 w 10375356"/>
              <a:gd name="connsiteY124" fmla="*/ 8540477 h 10394676"/>
              <a:gd name="connsiteX125" fmla="*/ 1234837 w 10375356"/>
              <a:gd name="connsiteY125" fmla="*/ 8540477 h 10394676"/>
              <a:gd name="connsiteX126" fmla="*/ 8870376 w 10375356"/>
              <a:gd name="connsiteY126" fmla="*/ 8234747 h 10394676"/>
              <a:gd name="connsiteX127" fmla="*/ 8972285 w 10375356"/>
              <a:gd name="connsiteY127" fmla="*/ 8234747 h 10394676"/>
              <a:gd name="connsiteX128" fmla="*/ 8972285 w 10375356"/>
              <a:gd name="connsiteY128" fmla="*/ 8745569 h 10394676"/>
              <a:gd name="connsiteX129" fmla="*/ 8870376 w 10375356"/>
              <a:gd name="connsiteY129" fmla="*/ 8745569 h 10394676"/>
              <a:gd name="connsiteX130" fmla="*/ 8046180 w 10375356"/>
              <a:gd name="connsiteY130" fmla="*/ 8234747 h 10394676"/>
              <a:gd name="connsiteX131" fmla="*/ 8148089 w 10375356"/>
              <a:gd name="connsiteY131" fmla="*/ 8234747 h 10394676"/>
              <a:gd name="connsiteX132" fmla="*/ 8148089 w 10375356"/>
              <a:gd name="connsiteY132" fmla="*/ 8745569 h 10394676"/>
              <a:gd name="connsiteX133" fmla="*/ 8046180 w 10375356"/>
              <a:gd name="connsiteY133" fmla="*/ 8745569 h 10394676"/>
              <a:gd name="connsiteX134" fmla="*/ 3094685 w 10375356"/>
              <a:gd name="connsiteY134" fmla="*/ 8234747 h 10394676"/>
              <a:gd name="connsiteX135" fmla="*/ 3196595 w 10375356"/>
              <a:gd name="connsiteY135" fmla="*/ 8234747 h 10394676"/>
              <a:gd name="connsiteX136" fmla="*/ 3196595 w 10375356"/>
              <a:gd name="connsiteY136" fmla="*/ 8745569 h 10394676"/>
              <a:gd name="connsiteX137" fmla="*/ 3094685 w 10375356"/>
              <a:gd name="connsiteY137" fmla="*/ 8745569 h 10394676"/>
              <a:gd name="connsiteX138" fmla="*/ 9489477 w 10375356"/>
              <a:gd name="connsiteY138" fmla="*/ 7615645 h 10394676"/>
              <a:gd name="connsiteX139" fmla="*/ 9824110 w 10375356"/>
              <a:gd name="connsiteY139" fmla="*/ 7615645 h 10394676"/>
              <a:gd name="connsiteX140" fmla="*/ 9792198 w 10375356"/>
              <a:gd name="connsiteY140" fmla="*/ 7681890 h 10394676"/>
              <a:gd name="connsiteX141" fmla="*/ 9770531 w 10375356"/>
              <a:gd name="connsiteY141" fmla="*/ 7717555 h 10394676"/>
              <a:gd name="connsiteX142" fmla="*/ 9489477 w 10375356"/>
              <a:gd name="connsiteY142" fmla="*/ 7717555 h 10394676"/>
              <a:gd name="connsiteX143" fmla="*/ 8666557 w 10375356"/>
              <a:gd name="connsiteY143" fmla="*/ 7615645 h 10394676"/>
              <a:gd name="connsiteX144" fmla="*/ 9177379 w 10375356"/>
              <a:gd name="connsiteY144" fmla="*/ 7615645 h 10394676"/>
              <a:gd name="connsiteX145" fmla="*/ 9177379 w 10375356"/>
              <a:gd name="connsiteY145" fmla="*/ 7717555 h 10394676"/>
              <a:gd name="connsiteX146" fmla="*/ 8666557 w 10375356"/>
              <a:gd name="connsiteY146" fmla="*/ 7717555 h 10394676"/>
              <a:gd name="connsiteX147" fmla="*/ 2322721 w 10375356"/>
              <a:gd name="connsiteY147" fmla="*/ 7503545 h 10394676"/>
              <a:gd name="connsiteX148" fmla="*/ 2159665 w 10375356"/>
              <a:gd name="connsiteY148" fmla="*/ 7666599 h 10394676"/>
              <a:gd name="connsiteX149" fmla="*/ 2322721 w 10375356"/>
              <a:gd name="connsiteY149" fmla="*/ 7829655 h 10394676"/>
              <a:gd name="connsiteX150" fmla="*/ 2485776 w 10375356"/>
              <a:gd name="connsiteY150" fmla="*/ 7666599 h 10394676"/>
              <a:gd name="connsiteX151" fmla="*/ 2322721 w 10375356"/>
              <a:gd name="connsiteY151" fmla="*/ 7503545 h 10394676"/>
              <a:gd name="connsiteX152" fmla="*/ 8046180 w 10375356"/>
              <a:gd name="connsiteY152" fmla="*/ 7410553 h 10394676"/>
              <a:gd name="connsiteX153" fmla="*/ 8148089 w 10375356"/>
              <a:gd name="connsiteY153" fmla="*/ 7410553 h 10394676"/>
              <a:gd name="connsiteX154" fmla="*/ 8148089 w 10375356"/>
              <a:gd name="connsiteY154" fmla="*/ 7921375 h 10394676"/>
              <a:gd name="connsiteX155" fmla="*/ 8046180 w 10375356"/>
              <a:gd name="connsiteY155" fmla="*/ 7921375 h 10394676"/>
              <a:gd name="connsiteX156" fmla="*/ 1447573 w 10375356"/>
              <a:gd name="connsiteY156" fmla="*/ 7410553 h 10394676"/>
              <a:gd name="connsiteX157" fmla="*/ 1549483 w 10375356"/>
              <a:gd name="connsiteY157" fmla="*/ 7410553 h 10394676"/>
              <a:gd name="connsiteX158" fmla="*/ 1549483 w 10375356"/>
              <a:gd name="connsiteY158" fmla="*/ 7921375 h 10394676"/>
              <a:gd name="connsiteX159" fmla="*/ 1447573 w 10375356"/>
              <a:gd name="connsiteY159" fmla="*/ 7921375 h 10394676"/>
              <a:gd name="connsiteX160" fmla="*/ 2322721 w 10375356"/>
              <a:gd name="connsiteY160" fmla="*/ 7401633 h 10394676"/>
              <a:gd name="connsiteX161" fmla="*/ 2587686 w 10375356"/>
              <a:gd name="connsiteY161" fmla="*/ 7666599 h 10394676"/>
              <a:gd name="connsiteX162" fmla="*/ 2322721 w 10375356"/>
              <a:gd name="connsiteY162" fmla="*/ 7931565 h 10394676"/>
              <a:gd name="connsiteX163" fmla="*/ 2057755 w 10375356"/>
              <a:gd name="connsiteY163" fmla="*/ 7666599 h 10394676"/>
              <a:gd name="connsiteX164" fmla="*/ 2322721 w 10375356"/>
              <a:gd name="connsiteY164" fmla="*/ 7401633 h 10394676"/>
              <a:gd name="connsiteX165" fmla="*/ 674333 w 10375356"/>
              <a:gd name="connsiteY165" fmla="*/ 7401633 h 10394676"/>
              <a:gd name="connsiteX166" fmla="*/ 939299 w 10375356"/>
              <a:gd name="connsiteY166" fmla="*/ 7666599 h 10394676"/>
              <a:gd name="connsiteX167" fmla="*/ 777537 w 10375356"/>
              <a:gd name="connsiteY167" fmla="*/ 7910765 h 10394676"/>
              <a:gd name="connsiteX168" fmla="*/ 769452 w 10375356"/>
              <a:gd name="connsiteY168" fmla="*/ 7913271 h 10394676"/>
              <a:gd name="connsiteX169" fmla="*/ 713980 w 10375356"/>
              <a:gd name="connsiteY169" fmla="*/ 7821961 h 10394676"/>
              <a:gd name="connsiteX170" fmla="*/ 739241 w 10375356"/>
              <a:gd name="connsiteY170" fmla="*/ 7816897 h 10394676"/>
              <a:gd name="connsiteX171" fmla="*/ 838662 w 10375356"/>
              <a:gd name="connsiteY171" fmla="*/ 7666599 h 10394676"/>
              <a:gd name="connsiteX172" fmla="*/ 675607 w 10375356"/>
              <a:gd name="connsiteY172" fmla="*/ 7503545 h 10394676"/>
              <a:gd name="connsiteX173" fmla="*/ 611973 w 10375356"/>
              <a:gd name="connsiteY173" fmla="*/ 7516304 h 10394676"/>
              <a:gd name="connsiteX174" fmla="*/ 564501 w 10375356"/>
              <a:gd name="connsiteY174" fmla="*/ 7548238 h 10394676"/>
              <a:gd name="connsiteX175" fmla="*/ 518632 w 10375356"/>
              <a:gd name="connsiteY175" fmla="*/ 7453019 h 10394676"/>
              <a:gd name="connsiteX176" fmla="*/ 526119 w 10375356"/>
              <a:gd name="connsiteY176" fmla="*/ 7446844 h 10394676"/>
              <a:gd name="connsiteX177" fmla="*/ 674333 w 10375356"/>
              <a:gd name="connsiteY177" fmla="*/ 7401633 h 10394676"/>
              <a:gd name="connsiteX178" fmla="*/ 8148089 w 10375356"/>
              <a:gd name="connsiteY178" fmla="*/ 7094869 h 10394676"/>
              <a:gd name="connsiteX179" fmla="*/ 8148089 w 10375356"/>
              <a:gd name="connsiteY179" fmla="*/ 7097179 h 10394676"/>
              <a:gd name="connsiteX180" fmla="*/ 8146686 w 10375356"/>
              <a:gd name="connsiteY180" fmla="*/ 7097179 h 10394676"/>
              <a:gd name="connsiteX181" fmla="*/ 8665281 w 10375356"/>
              <a:gd name="connsiteY181" fmla="*/ 6791449 h 10394676"/>
              <a:gd name="connsiteX182" fmla="*/ 9176104 w 10375356"/>
              <a:gd name="connsiteY182" fmla="*/ 6791449 h 10394676"/>
              <a:gd name="connsiteX183" fmla="*/ 9176104 w 10375356"/>
              <a:gd name="connsiteY183" fmla="*/ 6893357 h 10394676"/>
              <a:gd name="connsiteX184" fmla="*/ 8665281 w 10375356"/>
              <a:gd name="connsiteY184" fmla="*/ 6893357 h 10394676"/>
              <a:gd name="connsiteX185" fmla="*/ 2066681 w 10375356"/>
              <a:gd name="connsiteY185" fmla="*/ 6791449 h 10394676"/>
              <a:gd name="connsiteX186" fmla="*/ 2098040 w 10375356"/>
              <a:gd name="connsiteY186" fmla="*/ 6791449 h 10394676"/>
              <a:gd name="connsiteX187" fmla="*/ 2133958 w 10375356"/>
              <a:gd name="connsiteY187" fmla="*/ 6866010 h 10394676"/>
              <a:gd name="connsiteX188" fmla="*/ 2150572 w 10375356"/>
              <a:gd name="connsiteY188" fmla="*/ 6893357 h 10394676"/>
              <a:gd name="connsiteX189" fmla="*/ 2066681 w 10375356"/>
              <a:gd name="connsiteY189" fmla="*/ 6893357 h 10394676"/>
              <a:gd name="connsiteX190" fmla="*/ 419562 w 10375356"/>
              <a:gd name="connsiteY190" fmla="*/ 6791449 h 10394676"/>
              <a:gd name="connsiteX191" fmla="*/ 930385 w 10375356"/>
              <a:gd name="connsiteY191" fmla="*/ 6791449 h 10394676"/>
              <a:gd name="connsiteX192" fmla="*/ 930385 w 10375356"/>
              <a:gd name="connsiteY192" fmla="*/ 6893357 h 10394676"/>
              <a:gd name="connsiteX193" fmla="*/ 419562 w 10375356"/>
              <a:gd name="connsiteY193" fmla="*/ 6893357 h 10394676"/>
              <a:gd name="connsiteX194" fmla="*/ 9745526 w 10375356"/>
              <a:gd name="connsiteY194" fmla="*/ 6679349 h 10394676"/>
              <a:gd name="connsiteX195" fmla="*/ 9582469 w 10375356"/>
              <a:gd name="connsiteY195" fmla="*/ 6842405 h 10394676"/>
              <a:gd name="connsiteX196" fmla="*/ 9745526 w 10375356"/>
              <a:gd name="connsiteY196" fmla="*/ 7005461 h 10394676"/>
              <a:gd name="connsiteX197" fmla="*/ 9908582 w 10375356"/>
              <a:gd name="connsiteY197" fmla="*/ 6842405 h 10394676"/>
              <a:gd name="connsiteX198" fmla="*/ 9745526 w 10375356"/>
              <a:gd name="connsiteY198" fmla="*/ 6679349 h 10394676"/>
              <a:gd name="connsiteX199" fmla="*/ 1498533 w 10375356"/>
              <a:gd name="connsiteY199" fmla="*/ 6679349 h 10394676"/>
              <a:gd name="connsiteX200" fmla="*/ 1335477 w 10375356"/>
              <a:gd name="connsiteY200" fmla="*/ 6842405 h 10394676"/>
              <a:gd name="connsiteX201" fmla="*/ 1498533 w 10375356"/>
              <a:gd name="connsiteY201" fmla="*/ 7005461 h 10394676"/>
              <a:gd name="connsiteX202" fmla="*/ 1661588 w 10375356"/>
              <a:gd name="connsiteY202" fmla="*/ 6842405 h 10394676"/>
              <a:gd name="connsiteX203" fmla="*/ 1498533 w 10375356"/>
              <a:gd name="connsiteY203" fmla="*/ 6679349 h 10394676"/>
              <a:gd name="connsiteX204" fmla="*/ 9744252 w 10375356"/>
              <a:gd name="connsiteY204" fmla="*/ 6577439 h 10394676"/>
              <a:gd name="connsiteX205" fmla="*/ 10009217 w 10375356"/>
              <a:gd name="connsiteY205" fmla="*/ 6842405 h 10394676"/>
              <a:gd name="connsiteX206" fmla="*/ 9744252 w 10375356"/>
              <a:gd name="connsiteY206" fmla="*/ 7107369 h 10394676"/>
              <a:gd name="connsiteX207" fmla="*/ 9479286 w 10375356"/>
              <a:gd name="connsiteY207" fmla="*/ 6842405 h 10394676"/>
              <a:gd name="connsiteX208" fmla="*/ 9744252 w 10375356"/>
              <a:gd name="connsiteY208" fmla="*/ 6577439 h 10394676"/>
              <a:gd name="connsiteX209" fmla="*/ 1499807 w 10375356"/>
              <a:gd name="connsiteY209" fmla="*/ 6577439 h 10394676"/>
              <a:gd name="connsiteX210" fmla="*/ 1764771 w 10375356"/>
              <a:gd name="connsiteY210" fmla="*/ 6842405 h 10394676"/>
              <a:gd name="connsiteX211" fmla="*/ 1499807 w 10375356"/>
              <a:gd name="connsiteY211" fmla="*/ 7107369 h 10394676"/>
              <a:gd name="connsiteX212" fmla="*/ 1234841 w 10375356"/>
              <a:gd name="connsiteY212" fmla="*/ 6842405 h 10394676"/>
              <a:gd name="connsiteX213" fmla="*/ 1499807 w 10375356"/>
              <a:gd name="connsiteY213" fmla="*/ 6577439 h 10394676"/>
              <a:gd name="connsiteX214" fmla="*/ 8921331 w 10375356"/>
              <a:gd name="connsiteY214" fmla="*/ 5855153 h 10394676"/>
              <a:gd name="connsiteX215" fmla="*/ 8758274 w 10375356"/>
              <a:gd name="connsiteY215" fmla="*/ 6018209 h 10394676"/>
              <a:gd name="connsiteX216" fmla="*/ 8921331 w 10375356"/>
              <a:gd name="connsiteY216" fmla="*/ 6181265 h 10394676"/>
              <a:gd name="connsiteX217" fmla="*/ 9084385 w 10375356"/>
              <a:gd name="connsiteY217" fmla="*/ 6018209 h 10394676"/>
              <a:gd name="connsiteX218" fmla="*/ 8921331 w 10375356"/>
              <a:gd name="connsiteY218" fmla="*/ 5855153 h 10394676"/>
              <a:gd name="connsiteX219" fmla="*/ 674337 w 10375356"/>
              <a:gd name="connsiteY219" fmla="*/ 5855153 h 10394676"/>
              <a:gd name="connsiteX220" fmla="*/ 511282 w 10375356"/>
              <a:gd name="connsiteY220" fmla="*/ 6018209 h 10394676"/>
              <a:gd name="connsiteX221" fmla="*/ 674337 w 10375356"/>
              <a:gd name="connsiteY221" fmla="*/ 6181265 h 10394676"/>
              <a:gd name="connsiteX222" fmla="*/ 837393 w 10375356"/>
              <a:gd name="connsiteY222" fmla="*/ 6018209 h 10394676"/>
              <a:gd name="connsiteX223" fmla="*/ 674337 w 10375356"/>
              <a:gd name="connsiteY223" fmla="*/ 5855153 h 10394676"/>
              <a:gd name="connsiteX224" fmla="*/ 10375356 w 10375356"/>
              <a:gd name="connsiteY224" fmla="*/ 5854333 h 10394676"/>
              <a:gd name="connsiteX225" fmla="*/ 10334572 w 10375356"/>
              <a:gd name="connsiteY225" fmla="*/ 6121561 h 10394676"/>
              <a:gd name="connsiteX226" fmla="*/ 10334472 w 10375356"/>
              <a:gd name="connsiteY226" fmla="*/ 6121413 h 10394676"/>
              <a:gd name="connsiteX227" fmla="*/ 10313672 w 10375356"/>
              <a:gd name="connsiteY227" fmla="*/ 6018209 h 10394676"/>
              <a:gd name="connsiteX228" fmla="*/ 10334472 w 10375356"/>
              <a:gd name="connsiteY228" fmla="*/ 5915005 h 10394676"/>
              <a:gd name="connsiteX229" fmla="*/ 9694571 w 10375356"/>
              <a:gd name="connsiteY229" fmla="*/ 5763433 h 10394676"/>
              <a:gd name="connsiteX230" fmla="*/ 9796481 w 10375356"/>
              <a:gd name="connsiteY230" fmla="*/ 5763433 h 10394676"/>
              <a:gd name="connsiteX231" fmla="*/ 9796481 w 10375356"/>
              <a:gd name="connsiteY231" fmla="*/ 6274257 h 10394676"/>
              <a:gd name="connsiteX232" fmla="*/ 9694571 w 10375356"/>
              <a:gd name="connsiteY232" fmla="*/ 6274257 h 10394676"/>
              <a:gd name="connsiteX233" fmla="*/ 1447575 w 10375356"/>
              <a:gd name="connsiteY233" fmla="*/ 5763433 h 10394676"/>
              <a:gd name="connsiteX234" fmla="*/ 1549485 w 10375356"/>
              <a:gd name="connsiteY234" fmla="*/ 5763433 h 10394676"/>
              <a:gd name="connsiteX235" fmla="*/ 1549485 w 10375356"/>
              <a:gd name="connsiteY235" fmla="*/ 6274257 h 10394676"/>
              <a:gd name="connsiteX236" fmla="*/ 1447575 w 10375356"/>
              <a:gd name="connsiteY236" fmla="*/ 6274257 h 10394676"/>
              <a:gd name="connsiteX237" fmla="*/ 8922604 w 10375356"/>
              <a:gd name="connsiteY237" fmla="*/ 5753243 h 10394676"/>
              <a:gd name="connsiteX238" fmla="*/ 9187569 w 10375356"/>
              <a:gd name="connsiteY238" fmla="*/ 6018209 h 10394676"/>
              <a:gd name="connsiteX239" fmla="*/ 8922604 w 10375356"/>
              <a:gd name="connsiteY239" fmla="*/ 6283173 h 10394676"/>
              <a:gd name="connsiteX240" fmla="*/ 8657638 w 10375356"/>
              <a:gd name="connsiteY240" fmla="*/ 6018209 h 10394676"/>
              <a:gd name="connsiteX241" fmla="*/ 8922604 w 10375356"/>
              <a:gd name="connsiteY241" fmla="*/ 5753243 h 10394676"/>
              <a:gd name="connsiteX242" fmla="*/ 675610 w 10375356"/>
              <a:gd name="connsiteY242" fmla="*/ 5753243 h 10394676"/>
              <a:gd name="connsiteX243" fmla="*/ 940577 w 10375356"/>
              <a:gd name="connsiteY243" fmla="*/ 6018209 h 10394676"/>
              <a:gd name="connsiteX244" fmla="*/ 675610 w 10375356"/>
              <a:gd name="connsiteY244" fmla="*/ 6283173 h 10394676"/>
              <a:gd name="connsiteX245" fmla="*/ 410646 w 10375356"/>
              <a:gd name="connsiteY245" fmla="*/ 6018209 h 10394676"/>
              <a:gd name="connsiteX246" fmla="*/ 675610 w 10375356"/>
              <a:gd name="connsiteY246" fmla="*/ 5753243 h 10394676"/>
              <a:gd name="connsiteX247" fmla="*/ 9489477 w 10375356"/>
              <a:gd name="connsiteY247" fmla="*/ 5143057 h 10394676"/>
              <a:gd name="connsiteX248" fmla="*/ 10000300 w 10375356"/>
              <a:gd name="connsiteY248" fmla="*/ 5143057 h 10394676"/>
              <a:gd name="connsiteX249" fmla="*/ 10000300 w 10375356"/>
              <a:gd name="connsiteY249" fmla="*/ 5244969 h 10394676"/>
              <a:gd name="connsiteX250" fmla="*/ 9489477 w 10375356"/>
              <a:gd name="connsiteY250" fmla="*/ 5244969 h 10394676"/>
              <a:gd name="connsiteX251" fmla="*/ 8706634 w 10375356"/>
              <a:gd name="connsiteY251" fmla="*/ 5143057 h 10394676"/>
              <a:gd name="connsiteX252" fmla="*/ 9176104 w 10375356"/>
              <a:gd name="connsiteY252" fmla="*/ 5143057 h 10394676"/>
              <a:gd name="connsiteX253" fmla="*/ 9176104 w 10375356"/>
              <a:gd name="connsiteY253" fmla="*/ 5244969 h 10394676"/>
              <a:gd name="connsiteX254" fmla="*/ 8707060 w 10375356"/>
              <a:gd name="connsiteY254" fmla="*/ 5244969 h 10394676"/>
              <a:gd name="connsiteX255" fmla="*/ 8709420 w 10375356"/>
              <a:gd name="connsiteY255" fmla="*/ 5198237 h 10394676"/>
              <a:gd name="connsiteX256" fmla="*/ 1242485 w 10375356"/>
              <a:gd name="connsiteY256" fmla="*/ 5143057 h 10394676"/>
              <a:gd name="connsiteX257" fmla="*/ 1714449 w 10375356"/>
              <a:gd name="connsiteY257" fmla="*/ 5143057 h 10394676"/>
              <a:gd name="connsiteX258" fmla="*/ 1711662 w 10375356"/>
              <a:gd name="connsiteY258" fmla="*/ 5198237 h 10394676"/>
              <a:gd name="connsiteX259" fmla="*/ 1714022 w 10375356"/>
              <a:gd name="connsiteY259" fmla="*/ 5244969 h 10394676"/>
              <a:gd name="connsiteX260" fmla="*/ 1242485 w 10375356"/>
              <a:gd name="connsiteY260" fmla="*/ 5244969 h 10394676"/>
              <a:gd name="connsiteX261" fmla="*/ 2787 w 10375356"/>
              <a:gd name="connsiteY261" fmla="*/ 5143057 h 10394676"/>
              <a:gd name="connsiteX262" fmla="*/ 97302 w 10375356"/>
              <a:gd name="connsiteY262" fmla="*/ 5143057 h 10394676"/>
              <a:gd name="connsiteX263" fmla="*/ 97302 w 10375356"/>
              <a:gd name="connsiteY263" fmla="*/ 5244969 h 10394676"/>
              <a:gd name="connsiteX264" fmla="*/ 2360 w 10375356"/>
              <a:gd name="connsiteY264" fmla="*/ 5244969 h 10394676"/>
              <a:gd name="connsiteX265" fmla="*/ 0 w 10375356"/>
              <a:gd name="connsiteY265" fmla="*/ 5198237 h 10394676"/>
              <a:gd name="connsiteX266" fmla="*/ 623389 w 10375356"/>
              <a:gd name="connsiteY266" fmla="*/ 4939239 h 10394676"/>
              <a:gd name="connsiteX267" fmla="*/ 725299 w 10375356"/>
              <a:gd name="connsiteY267" fmla="*/ 4939239 h 10394676"/>
              <a:gd name="connsiteX268" fmla="*/ 725299 w 10375356"/>
              <a:gd name="connsiteY268" fmla="*/ 5450061 h 10394676"/>
              <a:gd name="connsiteX269" fmla="*/ 623389 w 10375356"/>
              <a:gd name="connsiteY269" fmla="*/ 5450061 h 10394676"/>
              <a:gd name="connsiteX270" fmla="*/ 86723 w 10375356"/>
              <a:gd name="connsiteY270" fmla="*/ 4273524 h 10394676"/>
              <a:gd name="connsiteX271" fmla="*/ 106218 w 10375356"/>
              <a:gd name="connsiteY271" fmla="*/ 4371093 h 10394676"/>
              <a:gd name="connsiteX272" fmla="*/ 85418 w 10375356"/>
              <a:gd name="connsiteY272" fmla="*/ 4474296 h 10394676"/>
              <a:gd name="connsiteX273" fmla="*/ 47492 w 10375356"/>
              <a:gd name="connsiteY273" fmla="*/ 4530579 h 10394676"/>
              <a:gd name="connsiteX274" fmla="*/ 9745526 w 10375356"/>
              <a:gd name="connsiteY274" fmla="*/ 4208037 h 10394676"/>
              <a:gd name="connsiteX275" fmla="*/ 9582469 w 10375356"/>
              <a:gd name="connsiteY275" fmla="*/ 4371093 h 10394676"/>
              <a:gd name="connsiteX276" fmla="*/ 9745526 w 10375356"/>
              <a:gd name="connsiteY276" fmla="*/ 4534147 h 10394676"/>
              <a:gd name="connsiteX277" fmla="*/ 9908582 w 10375356"/>
              <a:gd name="connsiteY277" fmla="*/ 4371093 h 10394676"/>
              <a:gd name="connsiteX278" fmla="*/ 9745526 w 10375356"/>
              <a:gd name="connsiteY278" fmla="*/ 4208037 h 10394676"/>
              <a:gd name="connsiteX279" fmla="*/ 1498539 w 10375356"/>
              <a:gd name="connsiteY279" fmla="*/ 4208037 h 10394676"/>
              <a:gd name="connsiteX280" fmla="*/ 1335482 w 10375356"/>
              <a:gd name="connsiteY280" fmla="*/ 4371093 h 10394676"/>
              <a:gd name="connsiteX281" fmla="*/ 1498539 w 10375356"/>
              <a:gd name="connsiteY281" fmla="*/ 4534147 h 10394676"/>
              <a:gd name="connsiteX282" fmla="*/ 1661593 w 10375356"/>
              <a:gd name="connsiteY282" fmla="*/ 4371093 h 10394676"/>
              <a:gd name="connsiteX283" fmla="*/ 1498539 w 10375356"/>
              <a:gd name="connsiteY283" fmla="*/ 4208037 h 10394676"/>
              <a:gd name="connsiteX284" fmla="*/ 8870376 w 10375356"/>
              <a:gd name="connsiteY284" fmla="*/ 4115043 h 10394676"/>
              <a:gd name="connsiteX285" fmla="*/ 8972285 w 10375356"/>
              <a:gd name="connsiteY285" fmla="*/ 4115043 h 10394676"/>
              <a:gd name="connsiteX286" fmla="*/ 8972285 w 10375356"/>
              <a:gd name="connsiteY286" fmla="*/ 4625865 h 10394676"/>
              <a:gd name="connsiteX287" fmla="*/ 8870376 w 10375356"/>
              <a:gd name="connsiteY287" fmla="*/ 4625865 h 10394676"/>
              <a:gd name="connsiteX288" fmla="*/ 623387 w 10375356"/>
              <a:gd name="connsiteY288" fmla="*/ 4115043 h 10394676"/>
              <a:gd name="connsiteX289" fmla="*/ 725297 w 10375356"/>
              <a:gd name="connsiteY289" fmla="*/ 4115043 h 10394676"/>
              <a:gd name="connsiteX290" fmla="*/ 725297 w 10375356"/>
              <a:gd name="connsiteY290" fmla="*/ 4625865 h 10394676"/>
              <a:gd name="connsiteX291" fmla="*/ 623387 w 10375356"/>
              <a:gd name="connsiteY291" fmla="*/ 4625865 h 10394676"/>
              <a:gd name="connsiteX292" fmla="*/ 9744252 w 10375356"/>
              <a:gd name="connsiteY292" fmla="*/ 4106125 h 10394676"/>
              <a:gd name="connsiteX293" fmla="*/ 10009217 w 10375356"/>
              <a:gd name="connsiteY293" fmla="*/ 4371093 h 10394676"/>
              <a:gd name="connsiteX294" fmla="*/ 9744252 w 10375356"/>
              <a:gd name="connsiteY294" fmla="*/ 4636057 h 10394676"/>
              <a:gd name="connsiteX295" fmla="*/ 9479286 w 10375356"/>
              <a:gd name="connsiteY295" fmla="*/ 4371093 h 10394676"/>
              <a:gd name="connsiteX296" fmla="*/ 9744252 w 10375356"/>
              <a:gd name="connsiteY296" fmla="*/ 4106125 h 10394676"/>
              <a:gd name="connsiteX297" fmla="*/ 1499812 w 10375356"/>
              <a:gd name="connsiteY297" fmla="*/ 4106125 h 10394676"/>
              <a:gd name="connsiteX298" fmla="*/ 1764778 w 10375356"/>
              <a:gd name="connsiteY298" fmla="*/ 4371093 h 10394676"/>
              <a:gd name="connsiteX299" fmla="*/ 1499812 w 10375356"/>
              <a:gd name="connsiteY299" fmla="*/ 4636057 h 10394676"/>
              <a:gd name="connsiteX300" fmla="*/ 1234846 w 10375356"/>
              <a:gd name="connsiteY300" fmla="*/ 4371093 h 10394676"/>
              <a:gd name="connsiteX301" fmla="*/ 1499812 w 10375356"/>
              <a:gd name="connsiteY301" fmla="*/ 4106125 h 10394676"/>
              <a:gd name="connsiteX302" fmla="*/ 9489477 w 10375356"/>
              <a:gd name="connsiteY302" fmla="*/ 3495941 h 10394676"/>
              <a:gd name="connsiteX303" fmla="*/ 10000300 w 10375356"/>
              <a:gd name="connsiteY303" fmla="*/ 3495941 h 10394676"/>
              <a:gd name="connsiteX304" fmla="*/ 10000300 w 10375356"/>
              <a:gd name="connsiteY304" fmla="*/ 3597851 h 10394676"/>
              <a:gd name="connsiteX305" fmla="*/ 9489477 w 10375356"/>
              <a:gd name="connsiteY305" fmla="*/ 3597851 h 10394676"/>
              <a:gd name="connsiteX306" fmla="*/ 2066685 w 10375356"/>
              <a:gd name="connsiteY306" fmla="*/ 3495941 h 10394676"/>
              <a:gd name="connsiteX307" fmla="*/ 2154931 w 10375356"/>
              <a:gd name="connsiteY307" fmla="*/ 3495941 h 10394676"/>
              <a:gd name="connsiteX308" fmla="*/ 2133958 w 10375356"/>
              <a:gd name="connsiteY308" fmla="*/ 3530464 h 10394676"/>
              <a:gd name="connsiteX309" fmla="*/ 2101496 w 10375356"/>
              <a:gd name="connsiteY309" fmla="*/ 3597851 h 10394676"/>
              <a:gd name="connsiteX310" fmla="*/ 2066685 w 10375356"/>
              <a:gd name="connsiteY310" fmla="*/ 3597851 h 10394676"/>
              <a:gd name="connsiteX311" fmla="*/ 674343 w 10375356"/>
              <a:gd name="connsiteY311" fmla="*/ 3383841 h 10394676"/>
              <a:gd name="connsiteX312" fmla="*/ 511289 w 10375356"/>
              <a:gd name="connsiteY312" fmla="*/ 3546897 h 10394676"/>
              <a:gd name="connsiteX313" fmla="*/ 674343 w 10375356"/>
              <a:gd name="connsiteY313" fmla="*/ 3709953 h 10394676"/>
              <a:gd name="connsiteX314" fmla="*/ 837399 w 10375356"/>
              <a:gd name="connsiteY314" fmla="*/ 3546897 h 10394676"/>
              <a:gd name="connsiteX315" fmla="*/ 674343 w 10375356"/>
              <a:gd name="connsiteY315" fmla="*/ 3383841 h 10394676"/>
              <a:gd name="connsiteX316" fmla="*/ 8870376 w 10375356"/>
              <a:gd name="connsiteY316" fmla="*/ 3292121 h 10394676"/>
              <a:gd name="connsiteX317" fmla="*/ 8972285 w 10375356"/>
              <a:gd name="connsiteY317" fmla="*/ 3292121 h 10394676"/>
              <a:gd name="connsiteX318" fmla="*/ 8972285 w 10375356"/>
              <a:gd name="connsiteY318" fmla="*/ 3802945 h 10394676"/>
              <a:gd name="connsiteX319" fmla="*/ 8870376 w 10375356"/>
              <a:gd name="connsiteY319" fmla="*/ 3802945 h 10394676"/>
              <a:gd name="connsiteX320" fmla="*/ 8142327 w 10375356"/>
              <a:gd name="connsiteY320" fmla="*/ 3292121 h 10394676"/>
              <a:gd name="connsiteX321" fmla="*/ 8148089 w 10375356"/>
              <a:gd name="connsiteY321" fmla="*/ 3292121 h 10394676"/>
              <a:gd name="connsiteX322" fmla="*/ 8148089 w 10375356"/>
              <a:gd name="connsiteY322" fmla="*/ 3301606 h 10394676"/>
              <a:gd name="connsiteX323" fmla="*/ 1447583 w 10375356"/>
              <a:gd name="connsiteY323" fmla="*/ 3292121 h 10394676"/>
              <a:gd name="connsiteX324" fmla="*/ 1549493 w 10375356"/>
              <a:gd name="connsiteY324" fmla="*/ 3292121 h 10394676"/>
              <a:gd name="connsiteX325" fmla="*/ 1549493 w 10375356"/>
              <a:gd name="connsiteY325" fmla="*/ 3802945 h 10394676"/>
              <a:gd name="connsiteX326" fmla="*/ 1447583 w 10375356"/>
              <a:gd name="connsiteY326" fmla="*/ 3802945 h 10394676"/>
              <a:gd name="connsiteX327" fmla="*/ 675617 w 10375356"/>
              <a:gd name="connsiteY327" fmla="*/ 3281931 h 10394676"/>
              <a:gd name="connsiteX328" fmla="*/ 940583 w 10375356"/>
              <a:gd name="connsiteY328" fmla="*/ 3546897 h 10394676"/>
              <a:gd name="connsiteX329" fmla="*/ 675617 w 10375356"/>
              <a:gd name="connsiteY329" fmla="*/ 3811861 h 10394676"/>
              <a:gd name="connsiteX330" fmla="*/ 410652 w 10375356"/>
              <a:gd name="connsiteY330" fmla="*/ 3546897 h 10394676"/>
              <a:gd name="connsiteX331" fmla="*/ 675617 w 10375356"/>
              <a:gd name="connsiteY331" fmla="*/ 3281931 h 10394676"/>
              <a:gd name="connsiteX332" fmla="*/ 1242482 w 10375356"/>
              <a:gd name="connsiteY332" fmla="*/ 2671745 h 10394676"/>
              <a:gd name="connsiteX333" fmla="*/ 1753305 w 10375356"/>
              <a:gd name="connsiteY333" fmla="*/ 2671745 h 10394676"/>
              <a:gd name="connsiteX334" fmla="*/ 1753305 w 10375356"/>
              <a:gd name="connsiteY334" fmla="*/ 2773657 h 10394676"/>
              <a:gd name="connsiteX335" fmla="*/ 1242482 w 10375356"/>
              <a:gd name="connsiteY335" fmla="*/ 2773657 h 10394676"/>
              <a:gd name="connsiteX336" fmla="*/ 8921331 w 10375356"/>
              <a:gd name="connsiteY336" fmla="*/ 2560919 h 10394676"/>
              <a:gd name="connsiteX337" fmla="*/ 8758275 w 10375356"/>
              <a:gd name="connsiteY337" fmla="*/ 2723975 h 10394676"/>
              <a:gd name="connsiteX338" fmla="*/ 8921331 w 10375356"/>
              <a:gd name="connsiteY338" fmla="*/ 2887029 h 10394676"/>
              <a:gd name="connsiteX339" fmla="*/ 9084386 w 10375356"/>
              <a:gd name="connsiteY339" fmla="*/ 2723975 h 10394676"/>
              <a:gd name="connsiteX340" fmla="*/ 8921331 w 10375356"/>
              <a:gd name="connsiteY340" fmla="*/ 2560919 h 10394676"/>
              <a:gd name="connsiteX341" fmla="*/ 2322726 w 10375356"/>
              <a:gd name="connsiteY341" fmla="*/ 2560919 h 10394676"/>
              <a:gd name="connsiteX342" fmla="*/ 2159671 w 10375356"/>
              <a:gd name="connsiteY342" fmla="*/ 2723975 h 10394676"/>
              <a:gd name="connsiteX343" fmla="*/ 2322726 w 10375356"/>
              <a:gd name="connsiteY343" fmla="*/ 2887029 h 10394676"/>
              <a:gd name="connsiteX344" fmla="*/ 2485782 w 10375356"/>
              <a:gd name="connsiteY344" fmla="*/ 2723975 h 10394676"/>
              <a:gd name="connsiteX345" fmla="*/ 2322726 w 10375356"/>
              <a:gd name="connsiteY345" fmla="*/ 2560919 h 10394676"/>
              <a:gd name="connsiteX346" fmla="*/ 9694571 w 10375356"/>
              <a:gd name="connsiteY346" fmla="*/ 2553886 h 10394676"/>
              <a:gd name="connsiteX347" fmla="*/ 9792198 w 10375356"/>
              <a:gd name="connsiteY347" fmla="*/ 2714584 h 10394676"/>
              <a:gd name="connsiteX348" fmla="*/ 9796481 w 10375356"/>
              <a:gd name="connsiteY348" fmla="*/ 2723476 h 10394676"/>
              <a:gd name="connsiteX349" fmla="*/ 9796481 w 10375356"/>
              <a:gd name="connsiteY349" fmla="*/ 2978749 h 10394676"/>
              <a:gd name="connsiteX350" fmla="*/ 9694571 w 10375356"/>
              <a:gd name="connsiteY350" fmla="*/ 2978749 h 10394676"/>
              <a:gd name="connsiteX351" fmla="*/ 772671 w 10375356"/>
              <a:gd name="connsiteY351" fmla="*/ 2477905 h 10394676"/>
              <a:gd name="connsiteX352" fmla="*/ 778813 w 10375356"/>
              <a:gd name="connsiteY352" fmla="*/ 2479809 h 10394676"/>
              <a:gd name="connsiteX353" fmla="*/ 940575 w 10375356"/>
              <a:gd name="connsiteY353" fmla="*/ 2723975 h 10394676"/>
              <a:gd name="connsiteX354" fmla="*/ 675608 w 10375356"/>
              <a:gd name="connsiteY354" fmla="*/ 2988941 h 10394676"/>
              <a:gd name="connsiteX355" fmla="*/ 527394 w 10375356"/>
              <a:gd name="connsiteY355" fmla="*/ 2942835 h 10394676"/>
              <a:gd name="connsiteX356" fmla="*/ 521341 w 10375356"/>
              <a:gd name="connsiteY356" fmla="*/ 2937832 h 10394676"/>
              <a:gd name="connsiteX357" fmla="*/ 566336 w 10375356"/>
              <a:gd name="connsiteY357" fmla="*/ 2844427 h 10394676"/>
              <a:gd name="connsiteX358" fmla="*/ 610701 w 10375356"/>
              <a:gd name="connsiteY358" fmla="*/ 2874271 h 10394676"/>
              <a:gd name="connsiteX359" fmla="*/ 674334 w 10375356"/>
              <a:gd name="connsiteY359" fmla="*/ 2887029 h 10394676"/>
              <a:gd name="connsiteX360" fmla="*/ 837390 w 10375356"/>
              <a:gd name="connsiteY360" fmla="*/ 2723975 h 10394676"/>
              <a:gd name="connsiteX361" fmla="*/ 737968 w 10375356"/>
              <a:gd name="connsiteY361" fmla="*/ 2573678 h 10394676"/>
              <a:gd name="connsiteX362" fmla="*/ 717037 w 10375356"/>
              <a:gd name="connsiteY362" fmla="*/ 2569481 h 10394676"/>
              <a:gd name="connsiteX363" fmla="*/ 8046180 w 10375356"/>
              <a:gd name="connsiteY363" fmla="*/ 2467925 h 10394676"/>
              <a:gd name="connsiteX364" fmla="*/ 8148089 w 10375356"/>
              <a:gd name="connsiteY364" fmla="*/ 2467925 h 10394676"/>
              <a:gd name="connsiteX365" fmla="*/ 8148089 w 10375356"/>
              <a:gd name="connsiteY365" fmla="*/ 2978749 h 10394676"/>
              <a:gd name="connsiteX366" fmla="*/ 8046180 w 10375356"/>
              <a:gd name="connsiteY366" fmla="*/ 2978749 h 10394676"/>
              <a:gd name="connsiteX367" fmla="*/ 8921331 w 10375356"/>
              <a:gd name="connsiteY367" fmla="*/ 2459009 h 10394676"/>
              <a:gd name="connsiteX368" fmla="*/ 9186296 w 10375356"/>
              <a:gd name="connsiteY368" fmla="*/ 2723975 h 10394676"/>
              <a:gd name="connsiteX369" fmla="*/ 8921331 w 10375356"/>
              <a:gd name="connsiteY369" fmla="*/ 2988941 h 10394676"/>
              <a:gd name="connsiteX370" fmla="*/ 8656365 w 10375356"/>
              <a:gd name="connsiteY370" fmla="*/ 2723975 h 10394676"/>
              <a:gd name="connsiteX371" fmla="*/ 8921331 w 10375356"/>
              <a:gd name="connsiteY371" fmla="*/ 2459009 h 10394676"/>
              <a:gd name="connsiteX372" fmla="*/ 2322726 w 10375356"/>
              <a:gd name="connsiteY372" fmla="*/ 2459009 h 10394676"/>
              <a:gd name="connsiteX373" fmla="*/ 2587692 w 10375356"/>
              <a:gd name="connsiteY373" fmla="*/ 2723975 h 10394676"/>
              <a:gd name="connsiteX374" fmla="*/ 2322726 w 10375356"/>
              <a:gd name="connsiteY374" fmla="*/ 2988941 h 10394676"/>
              <a:gd name="connsiteX375" fmla="*/ 2057761 w 10375356"/>
              <a:gd name="connsiteY375" fmla="*/ 2723975 h 10394676"/>
              <a:gd name="connsiteX376" fmla="*/ 2322726 w 10375356"/>
              <a:gd name="connsiteY376" fmla="*/ 2459009 h 10394676"/>
              <a:gd name="connsiteX377" fmla="*/ 7842360 w 10375356"/>
              <a:gd name="connsiteY377" fmla="*/ 1848825 h 10394676"/>
              <a:gd name="connsiteX378" fmla="*/ 8353182 w 10375356"/>
              <a:gd name="connsiteY378" fmla="*/ 1848825 h 10394676"/>
              <a:gd name="connsiteX379" fmla="*/ 8353182 w 10375356"/>
              <a:gd name="connsiteY379" fmla="*/ 1950733 h 10394676"/>
              <a:gd name="connsiteX380" fmla="*/ 7842360 w 10375356"/>
              <a:gd name="connsiteY380" fmla="*/ 1950733 h 10394676"/>
              <a:gd name="connsiteX381" fmla="*/ 6223404 w 10375356"/>
              <a:gd name="connsiteY381" fmla="*/ 1848825 h 10394676"/>
              <a:gd name="connsiteX382" fmla="*/ 6704792 w 10375356"/>
              <a:gd name="connsiteY382" fmla="*/ 1848825 h 10394676"/>
              <a:gd name="connsiteX383" fmla="*/ 6704792 w 10375356"/>
              <a:gd name="connsiteY383" fmla="*/ 1950733 h 10394676"/>
              <a:gd name="connsiteX384" fmla="*/ 6512646 w 10375356"/>
              <a:gd name="connsiteY384" fmla="*/ 1950733 h 10394676"/>
              <a:gd name="connsiteX385" fmla="*/ 6413573 w 10375356"/>
              <a:gd name="connsiteY385" fmla="*/ 1911670 h 10394676"/>
              <a:gd name="connsiteX386" fmla="*/ 6251001 w 10375356"/>
              <a:gd name="connsiteY386" fmla="*/ 1856662 h 10394676"/>
              <a:gd name="connsiteX387" fmla="*/ 2890884 w 10375356"/>
              <a:gd name="connsiteY387" fmla="*/ 1848825 h 10394676"/>
              <a:gd name="connsiteX388" fmla="*/ 3401707 w 10375356"/>
              <a:gd name="connsiteY388" fmla="*/ 1848825 h 10394676"/>
              <a:gd name="connsiteX389" fmla="*/ 3401707 w 10375356"/>
              <a:gd name="connsiteY389" fmla="*/ 1950733 h 10394676"/>
              <a:gd name="connsiteX390" fmla="*/ 2890884 w 10375356"/>
              <a:gd name="connsiteY390" fmla="*/ 1950733 h 10394676"/>
              <a:gd name="connsiteX391" fmla="*/ 1242493 w 10375356"/>
              <a:gd name="connsiteY391" fmla="*/ 1848825 h 10394676"/>
              <a:gd name="connsiteX392" fmla="*/ 1753316 w 10375356"/>
              <a:gd name="connsiteY392" fmla="*/ 1848825 h 10394676"/>
              <a:gd name="connsiteX393" fmla="*/ 1753316 w 10375356"/>
              <a:gd name="connsiteY393" fmla="*/ 1950733 h 10394676"/>
              <a:gd name="connsiteX394" fmla="*/ 1242493 w 10375356"/>
              <a:gd name="connsiteY394" fmla="*/ 1950733 h 10394676"/>
              <a:gd name="connsiteX395" fmla="*/ 8921331 w 10375356"/>
              <a:gd name="connsiteY395" fmla="*/ 1736725 h 10394676"/>
              <a:gd name="connsiteX396" fmla="*/ 8758275 w 10375356"/>
              <a:gd name="connsiteY396" fmla="*/ 1899781 h 10394676"/>
              <a:gd name="connsiteX397" fmla="*/ 8921331 w 10375356"/>
              <a:gd name="connsiteY397" fmla="*/ 2062835 h 10394676"/>
              <a:gd name="connsiteX398" fmla="*/ 9084386 w 10375356"/>
              <a:gd name="connsiteY398" fmla="*/ 1899781 h 10394676"/>
              <a:gd name="connsiteX399" fmla="*/ 8921331 w 10375356"/>
              <a:gd name="connsiteY399" fmla="*/ 1736725 h 10394676"/>
              <a:gd name="connsiteX400" fmla="*/ 7223258 w 10375356"/>
              <a:gd name="connsiteY400" fmla="*/ 1643731 h 10394676"/>
              <a:gd name="connsiteX401" fmla="*/ 7325168 w 10375356"/>
              <a:gd name="connsiteY401" fmla="*/ 1643731 h 10394676"/>
              <a:gd name="connsiteX402" fmla="*/ 7325168 w 10375356"/>
              <a:gd name="connsiteY402" fmla="*/ 2154553 h 10394676"/>
              <a:gd name="connsiteX403" fmla="*/ 7223258 w 10375356"/>
              <a:gd name="connsiteY403" fmla="*/ 2154553 h 10394676"/>
              <a:gd name="connsiteX404" fmla="*/ 2271782 w 10375356"/>
              <a:gd name="connsiteY404" fmla="*/ 1643731 h 10394676"/>
              <a:gd name="connsiteX405" fmla="*/ 2373691 w 10375356"/>
              <a:gd name="connsiteY405" fmla="*/ 1643731 h 10394676"/>
              <a:gd name="connsiteX406" fmla="*/ 2373691 w 10375356"/>
              <a:gd name="connsiteY406" fmla="*/ 2154553 h 10394676"/>
              <a:gd name="connsiteX407" fmla="*/ 2271782 w 10375356"/>
              <a:gd name="connsiteY407" fmla="*/ 2154553 h 10394676"/>
              <a:gd name="connsiteX408" fmla="*/ 8921331 w 10375356"/>
              <a:gd name="connsiteY408" fmla="*/ 1634813 h 10394676"/>
              <a:gd name="connsiteX409" fmla="*/ 9024534 w 10375356"/>
              <a:gd name="connsiteY409" fmla="*/ 1655614 h 10394676"/>
              <a:gd name="connsiteX410" fmla="*/ 9036119 w 10375356"/>
              <a:gd name="connsiteY410" fmla="*/ 1661896 h 10394676"/>
              <a:gd name="connsiteX411" fmla="*/ 9067478 w 10375356"/>
              <a:gd name="connsiteY411" fmla="*/ 1694788 h 10394676"/>
              <a:gd name="connsiteX412" fmla="*/ 9168482 w 10375356"/>
              <a:gd name="connsiteY412" fmla="*/ 1811390 h 10394676"/>
              <a:gd name="connsiteX413" fmla="*/ 9186296 w 10375356"/>
              <a:gd name="connsiteY413" fmla="*/ 1899781 h 10394676"/>
              <a:gd name="connsiteX414" fmla="*/ 8921331 w 10375356"/>
              <a:gd name="connsiteY414" fmla="*/ 2164745 h 10394676"/>
              <a:gd name="connsiteX415" fmla="*/ 8656365 w 10375356"/>
              <a:gd name="connsiteY415" fmla="*/ 1899781 h 10394676"/>
              <a:gd name="connsiteX416" fmla="*/ 8921331 w 10375356"/>
              <a:gd name="connsiteY416" fmla="*/ 1634813 h 10394676"/>
              <a:gd name="connsiteX417" fmla="*/ 3969851 w 10375356"/>
              <a:gd name="connsiteY417" fmla="*/ 1634813 h 10394676"/>
              <a:gd name="connsiteX418" fmla="*/ 4214017 w 10375356"/>
              <a:gd name="connsiteY418" fmla="*/ 1796577 h 10394676"/>
              <a:gd name="connsiteX419" fmla="*/ 4223093 w 10375356"/>
              <a:gd name="connsiteY419" fmla="*/ 1841608 h 10394676"/>
              <a:gd name="connsiteX420" fmla="*/ 4170081 w 10375356"/>
              <a:gd name="connsiteY420" fmla="*/ 1856662 h 10394676"/>
              <a:gd name="connsiteX421" fmla="*/ 4127174 w 10375356"/>
              <a:gd name="connsiteY421" fmla="*/ 1871180 h 10394676"/>
              <a:gd name="connsiteX422" fmla="*/ 4120150 w 10375356"/>
              <a:gd name="connsiteY422" fmla="*/ 1836147 h 10394676"/>
              <a:gd name="connsiteX423" fmla="*/ 3969851 w 10375356"/>
              <a:gd name="connsiteY423" fmla="*/ 1736725 h 10394676"/>
              <a:gd name="connsiteX424" fmla="*/ 3806796 w 10375356"/>
              <a:gd name="connsiteY424" fmla="*/ 1899781 h 10394676"/>
              <a:gd name="connsiteX425" fmla="*/ 3819555 w 10375356"/>
              <a:gd name="connsiteY425" fmla="*/ 1963414 h 10394676"/>
              <a:gd name="connsiteX426" fmla="*/ 3832208 w 10375356"/>
              <a:gd name="connsiteY426" fmla="*/ 1982224 h 10394676"/>
              <a:gd name="connsiteX427" fmla="*/ 3741230 w 10375356"/>
              <a:gd name="connsiteY427" fmla="*/ 2026051 h 10394676"/>
              <a:gd name="connsiteX428" fmla="*/ 3725686 w 10375356"/>
              <a:gd name="connsiteY428" fmla="*/ 2002984 h 10394676"/>
              <a:gd name="connsiteX429" fmla="*/ 3704886 w 10375356"/>
              <a:gd name="connsiteY429" fmla="*/ 1899781 h 10394676"/>
              <a:gd name="connsiteX430" fmla="*/ 3969851 w 10375356"/>
              <a:gd name="connsiteY430" fmla="*/ 1634813 h 10394676"/>
              <a:gd name="connsiteX431" fmla="*/ 7842360 w 10375356"/>
              <a:gd name="connsiteY431" fmla="*/ 1024629 h 10394676"/>
              <a:gd name="connsiteX432" fmla="*/ 8330359 w 10375356"/>
              <a:gd name="connsiteY432" fmla="*/ 1024629 h 10394676"/>
              <a:gd name="connsiteX433" fmla="*/ 8353182 w 10375356"/>
              <a:gd name="connsiteY433" fmla="*/ 1042565 h 10394676"/>
              <a:gd name="connsiteX434" fmla="*/ 8353182 w 10375356"/>
              <a:gd name="connsiteY434" fmla="*/ 1126539 h 10394676"/>
              <a:gd name="connsiteX435" fmla="*/ 7842360 w 10375356"/>
              <a:gd name="connsiteY435" fmla="*/ 1126539 h 10394676"/>
              <a:gd name="connsiteX436" fmla="*/ 5371048 w 10375356"/>
              <a:gd name="connsiteY436" fmla="*/ 1024629 h 10394676"/>
              <a:gd name="connsiteX437" fmla="*/ 5881870 w 10375356"/>
              <a:gd name="connsiteY437" fmla="*/ 1024629 h 10394676"/>
              <a:gd name="connsiteX438" fmla="*/ 5881870 w 10375356"/>
              <a:gd name="connsiteY438" fmla="*/ 1126539 h 10394676"/>
              <a:gd name="connsiteX439" fmla="*/ 5371048 w 10375356"/>
              <a:gd name="connsiteY439" fmla="*/ 1126539 h 10394676"/>
              <a:gd name="connsiteX440" fmla="*/ 4538001 w 10375356"/>
              <a:gd name="connsiteY440" fmla="*/ 1024629 h 10394676"/>
              <a:gd name="connsiteX441" fmla="*/ 5048825 w 10375356"/>
              <a:gd name="connsiteY441" fmla="*/ 1024629 h 10394676"/>
              <a:gd name="connsiteX442" fmla="*/ 5048825 w 10375356"/>
              <a:gd name="connsiteY442" fmla="*/ 1126539 h 10394676"/>
              <a:gd name="connsiteX443" fmla="*/ 4538001 w 10375356"/>
              <a:gd name="connsiteY443" fmla="*/ 1126539 h 10394676"/>
              <a:gd name="connsiteX444" fmla="*/ 2890886 w 10375356"/>
              <a:gd name="connsiteY444" fmla="*/ 1024629 h 10394676"/>
              <a:gd name="connsiteX445" fmla="*/ 3401709 w 10375356"/>
              <a:gd name="connsiteY445" fmla="*/ 1024629 h 10394676"/>
              <a:gd name="connsiteX446" fmla="*/ 3401709 w 10375356"/>
              <a:gd name="connsiteY446" fmla="*/ 1126539 h 10394676"/>
              <a:gd name="connsiteX447" fmla="*/ 2890886 w 10375356"/>
              <a:gd name="connsiteY447" fmla="*/ 1126539 h 10394676"/>
              <a:gd name="connsiteX448" fmla="*/ 6450017 w 10375356"/>
              <a:gd name="connsiteY448" fmla="*/ 912529 h 10394676"/>
              <a:gd name="connsiteX449" fmla="*/ 6286962 w 10375356"/>
              <a:gd name="connsiteY449" fmla="*/ 1075585 h 10394676"/>
              <a:gd name="connsiteX450" fmla="*/ 6450017 w 10375356"/>
              <a:gd name="connsiteY450" fmla="*/ 1238639 h 10394676"/>
              <a:gd name="connsiteX451" fmla="*/ 6613073 w 10375356"/>
              <a:gd name="connsiteY451" fmla="*/ 1075585 h 10394676"/>
              <a:gd name="connsiteX452" fmla="*/ 6450017 w 10375356"/>
              <a:gd name="connsiteY452" fmla="*/ 912529 h 10394676"/>
              <a:gd name="connsiteX453" fmla="*/ 2373692 w 10375356"/>
              <a:gd name="connsiteY453" fmla="*/ 828587 h 10394676"/>
              <a:gd name="connsiteX454" fmla="*/ 2373692 w 10375356"/>
              <a:gd name="connsiteY454" fmla="*/ 1331633 h 10394676"/>
              <a:gd name="connsiteX455" fmla="*/ 2271782 w 10375356"/>
              <a:gd name="connsiteY455" fmla="*/ 1331633 h 10394676"/>
              <a:gd name="connsiteX456" fmla="*/ 2271782 w 10375356"/>
              <a:gd name="connsiteY456" fmla="*/ 895706 h 10394676"/>
              <a:gd name="connsiteX457" fmla="*/ 2297278 w 10375356"/>
              <a:gd name="connsiteY457" fmla="*/ 877575 h 10394676"/>
              <a:gd name="connsiteX458" fmla="*/ 7223258 w 10375356"/>
              <a:gd name="connsiteY458" fmla="*/ 820809 h 10394676"/>
              <a:gd name="connsiteX459" fmla="*/ 7325168 w 10375356"/>
              <a:gd name="connsiteY459" fmla="*/ 820809 h 10394676"/>
              <a:gd name="connsiteX460" fmla="*/ 7325168 w 10375356"/>
              <a:gd name="connsiteY460" fmla="*/ 1331633 h 10394676"/>
              <a:gd name="connsiteX461" fmla="*/ 7223258 w 10375356"/>
              <a:gd name="connsiteY461" fmla="*/ 1331633 h 10394676"/>
              <a:gd name="connsiteX462" fmla="*/ 3918899 w 10375356"/>
              <a:gd name="connsiteY462" fmla="*/ 820809 h 10394676"/>
              <a:gd name="connsiteX463" fmla="*/ 4020808 w 10375356"/>
              <a:gd name="connsiteY463" fmla="*/ 820809 h 10394676"/>
              <a:gd name="connsiteX464" fmla="*/ 4020808 w 10375356"/>
              <a:gd name="connsiteY464" fmla="*/ 1331633 h 10394676"/>
              <a:gd name="connsiteX465" fmla="*/ 3918899 w 10375356"/>
              <a:gd name="connsiteY465" fmla="*/ 1331633 h 10394676"/>
              <a:gd name="connsiteX466" fmla="*/ 6451292 w 10375356"/>
              <a:gd name="connsiteY466" fmla="*/ 810617 h 10394676"/>
              <a:gd name="connsiteX467" fmla="*/ 6716257 w 10375356"/>
              <a:gd name="connsiteY467" fmla="*/ 1075585 h 10394676"/>
              <a:gd name="connsiteX468" fmla="*/ 6451292 w 10375356"/>
              <a:gd name="connsiteY468" fmla="*/ 1340549 h 10394676"/>
              <a:gd name="connsiteX469" fmla="*/ 6186326 w 10375356"/>
              <a:gd name="connsiteY469" fmla="*/ 1075585 h 10394676"/>
              <a:gd name="connsiteX470" fmla="*/ 6451292 w 10375356"/>
              <a:gd name="connsiteY470" fmla="*/ 810617 h 10394676"/>
              <a:gd name="connsiteX471" fmla="*/ 6399063 w 10375356"/>
              <a:gd name="connsiteY471" fmla="*/ 125503 h 10394676"/>
              <a:gd name="connsiteX472" fmla="*/ 6500973 w 10375356"/>
              <a:gd name="connsiteY472" fmla="*/ 149024 h 10394676"/>
              <a:gd name="connsiteX473" fmla="*/ 6500973 w 10375356"/>
              <a:gd name="connsiteY473" fmla="*/ 508711 h 10394676"/>
              <a:gd name="connsiteX474" fmla="*/ 6399063 w 10375356"/>
              <a:gd name="connsiteY474" fmla="*/ 508711 h 10394676"/>
              <a:gd name="connsiteX475" fmla="*/ 4743094 w 10375356"/>
              <a:gd name="connsiteY475" fmla="*/ 101073 h 10394676"/>
              <a:gd name="connsiteX476" fmla="*/ 4845004 w 10375356"/>
              <a:gd name="connsiteY476" fmla="*/ 101073 h 10394676"/>
              <a:gd name="connsiteX477" fmla="*/ 4845004 w 10375356"/>
              <a:gd name="connsiteY477" fmla="*/ 508711 h 10394676"/>
              <a:gd name="connsiteX478" fmla="*/ 4743094 w 10375356"/>
              <a:gd name="connsiteY478" fmla="*/ 508711 h 10394676"/>
              <a:gd name="connsiteX479" fmla="*/ 4174642 w 10375356"/>
              <a:gd name="connsiteY479" fmla="*/ 91020 h 10394676"/>
              <a:gd name="connsiteX480" fmla="*/ 4214021 w 10375356"/>
              <a:gd name="connsiteY480" fmla="*/ 149458 h 10394676"/>
              <a:gd name="connsiteX481" fmla="*/ 4234820 w 10375356"/>
              <a:gd name="connsiteY481" fmla="*/ 252661 h 10394676"/>
              <a:gd name="connsiteX482" fmla="*/ 3969854 w 10375356"/>
              <a:gd name="connsiteY482" fmla="*/ 517629 h 10394676"/>
              <a:gd name="connsiteX483" fmla="*/ 3704889 w 10375356"/>
              <a:gd name="connsiteY483" fmla="*/ 252661 h 10394676"/>
              <a:gd name="connsiteX484" fmla="*/ 3714113 w 10375356"/>
              <a:gd name="connsiteY484" fmla="*/ 206895 h 10394676"/>
              <a:gd name="connsiteX485" fmla="*/ 3829928 w 10375356"/>
              <a:gd name="connsiteY485" fmla="*/ 174007 h 10394676"/>
              <a:gd name="connsiteX486" fmla="*/ 3819737 w 10375356"/>
              <a:gd name="connsiteY486" fmla="*/ 189028 h 10394676"/>
              <a:gd name="connsiteX487" fmla="*/ 3806799 w 10375356"/>
              <a:gd name="connsiteY487" fmla="*/ 252661 h 10394676"/>
              <a:gd name="connsiteX488" fmla="*/ 3969854 w 10375356"/>
              <a:gd name="connsiteY488" fmla="*/ 415717 h 10394676"/>
              <a:gd name="connsiteX489" fmla="*/ 4132911 w 10375356"/>
              <a:gd name="connsiteY489" fmla="*/ 252661 h 10394676"/>
              <a:gd name="connsiteX490" fmla="*/ 4085300 w 10375356"/>
              <a:gd name="connsiteY490" fmla="*/ 137218 h 10394676"/>
              <a:gd name="connsiteX491" fmla="*/ 4056168 w 10375356"/>
              <a:gd name="connsiteY491" fmla="*/ 117622 h 10394676"/>
              <a:gd name="connsiteX492" fmla="*/ 4160436 w 10375356"/>
              <a:gd name="connsiteY492" fmla="*/ 93557 h 10394676"/>
              <a:gd name="connsiteX493" fmla="*/ 5625822 w 10375356"/>
              <a:gd name="connsiteY493" fmla="*/ 89607 h 10394676"/>
              <a:gd name="connsiteX494" fmla="*/ 5462766 w 10375356"/>
              <a:gd name="connsiteY494" fmla="*/ 252661 h 10394676"/>
              <a:gd name="connsiteX495" fmla="*/ 5625822 w 10375356"/>
              <a:gd name="connsiteY495" fmla="*/ 415717 h 10394676"/>
              <a:gd name="connsiteX496" fmla="*/ 5788878 w 10375356"/>
              <a:gd name="connsiteY496" fmla="*/ 252661 h 10394676"/>
              <a:gd name="connsiteX497" fmla="*/ 5625822 w 10375356"/>
              <a:gd name="connsiteY497" fmla="*/ 89607 h 10394676"/>
              <a:gd name="connsiteX498" fmla="*/ 5551305 w 10375356"/>
              <a:gd name="connsiteY498" fmla="*/ 0 h 10394676"/>
              <a:gd name="connsiteX499" fmla="*/ 5741268 w 10375356"/>
              <a:gd name="connsiteY499" fmla="*/ 14445 h 10394676"/>
              <a:gd name="connsiteX500" fmla="*/ 5775311 w 10375356"/>
              <a:gd name="connsiteY500" fmla="*/ 32907 h 10394676"/>
              <a:gd name="connsiteX501" fmla="*/ 5892062 w 10375356"/>
              <a:gd name="connsiteY501" fmla="*/ 252661 h 10394676"/>
              <a:gd name="connsiteX502" fmla="*/ 5627096 w 10375356"/>
              <a:gd name="connsiteY502" fmla="*/ 517629 h 10394676"/>
              <a:gd name="connsiteX503" fmla="*/ 5362131 w 10375356"/>
              <a:gd name="connsiteY503" fmla="*/ 252661 h 10394676"/>
              <a:gd name="connsiteX504" fmla="*/ 5523893 w 10375356"/>
              <a:gd name="connsiteY504" fmla="*/ 8497 h 10394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</a:cxnLst>
            <a:rect l="l" t="t" r="r" b="b"/>
            <a:pathLst>
              <a:path w="10375356" h="10394676">
                <a:moveTo>
                  <a:pt x="6202887" y="10086957"/>
                </a:moveTo>
                <a:lnTo>
                  <a:pt x="6713710" y="10086957"/>
                </a:lnTo>
                <a:lnTo>
                  <a:pt x="6713710" y="10187665"/>
                </a:lnTo>
                <a:lnTo>
                  <a:pt x="6709472" y="10188869"/>
                </a:lnTo>
                <a:lnTo>
                  <a:pt x="6202887" y="10188869"/>
                </a:lnTo>
                <a:close/>
                <a:moveTo>
                  <a:pt x="5634740" y="9974857"/>
                </a:moveTo>
                <a:cubicBezTo>
                  <a:pt x="5544295" y="9974857"/>
                  <a:pt x="5471684" y="10047469"/>
                  <a:pt x="5471684" y="10137913"/>
                </a:cubicBezTo>
                <a:cubicBezTo>
                  <a:pt x="5471684" y="10228357"/>
                  <a:pt x="5544295" y="10300969"/>
                  <a:pt x="5634740" y="10300969"/>
                </a:cubicBezTo>
                <a:cubicBezTo>
                  <a:pt x="5725185" y="10299693"/>
                  <a:pt x="5797795" y="10227083"/>
                  <a:pt x="5797795" y="10137913"/>
                </a:cubicBezTo>
                <a:cubicBezTo>
                  <a:pt x="5797795" y="10047469"/>
                  <a:pt x="5725185" y="9974857"/>
                  <a:pt x="5634740" y="9974857"/>
                </a:cubicBezTo>
                <a:close/>
                <a:moveTo>
                  <a:pt x="7232175" y="9881865"/>
                </a:moveTo>
                <a:lnTo>
                  <a:pt x="7334085" y="9881865"/>
                </a:lnTo>
                <a:lnTo>
                  <a:pt x="7334085" y="9956193"/>
                </a:lnTo>
                <a:lnTo>
                  <a:pt x="7238719" y="9999307"/>
                </a:lnTo>
                <a:lnTo>
                  <a:pt x="7232175" y="10001887"/>
                </a:lnTo>
                <a:close/>
                <a:moveTo>
                  <a:pt x="4751991" y="9881865"/>
                </a:moveTo>
                <a:lnTo>
                  <a:pt x="4853901" y="9881865"/>
                </a:lnTo>
                <a:lnTo>
                  <a:pt x="4853901" y="10290777"/>
                </a:lnTo>
                <a:lnTo>
                  <a:pt x="4751991" y="10290777"/>
                </a:lnTo>
                <a:close/>
                <a:moveTo>
                  <a:pt x="5636013" y="9872947"/>
                </a:moveTo>
                <a:cubicBezTo>
                  <a:pt x="5782509" y="9872947"/>
                  <a:pt x="5900978" y="9991417"/>
                  <a:pt x="5900978" y="10137913"/>
                </a:cubicBezTo>
                <a:cubicBezTo>
                  <a:pt x="5900978" y="10247785"/>
                  <a:pt x="5834339" y="10341891"/>
                  <a:pt x="5739217" y="10382077"/>
                </a:cubicBezTo>
                <a:lnTo>
                  <a:pt x="5738756" y="10382220"/>
                </a:lnTo>
                <a:lnTo>
                  <a:pt x="5574951" y="10394676"/>
                </a:lnTo>
                <a:lnTo>
                  <a:pt x="5532810" y="10381361"/>
                </a:lnTo>
                <a:cubicBezTo>
                  <a:pt x="5437688" y="10340697"/>
                  <a:pt x="5371048" y="10246828"/>
                  <a:pt x="5371048" y="10137913"/>
                </a:cubicBezTo>
                <a:cubicBezTo>
                  <a:pt x="5371048" y="9991417"/>
                  <a:pt x="5489518" y="9872947"/>
                  <a:pt x="5636013" y="9872947"/>
                </a:cubicBezTo>
                <a:close/>
                <a:moveTo>
                  <a:pt x="3978752" y="9872947"/>
                </a:moveTo>
                <a:cubicBezTo>
                  <a:pt x="4125249" y="9872947"/>
                  <a:pt x="4243718" y="9991417"/>
                  <a:pt x="4243718" y="10137913"/>
                </a:cubicBezTo>
                <a:cubicBezTo>
                  <a:pt x="4243718" y="10174537"/>
                  <a:pt x="4236314" y="10209409"/>
                  <a:pt x="4222918" y="10241117"/>
                </a:cubicBezTo>
                <a:lnTo>
                  <a:pt x="4179036" y="10306239"/>
                </a:lnTo>
                <a:lnTo>
                  <a:pt x="4160436" y="10302917"/>
                </a:lnTo>
                <a:lnTo>
                  <a:pt x="4056265" y="10278875"/>
                </a:lnTo>
                <a:lnTo>
                  <a:pt x="4094199" y="10253357"/>
                </a:lnTo>
                <a:cubicBezTo>
                  <a:pt x="4123657" y="10223899"/>
                  <a:pt x="4141809" y="10183135"/>
                  <a:pt x="4141809" y="10137913"/>
                </a:cubicBezTo>
                <a:cubicBezTo>
                  <a:pt x="4141809" y="10047469"/>
                  <a:pt x="4069199" y="9974857"/>
                  <a:pt x="3978752" y="9974857"/>
                </a:cubicBezTo>
                <a:cubicBezTo>
                  <a:pt x="3889581" y="9974857"/>
                  <a:pt x="3815698" y="10047469"/>
                  <a:pt x="3815698" y="10137913"/>
                </a:cubicBezTo>
                <a:cubicBezTo>
                  <a:pt x="3815698" y="10160524"/>
                  <a:pt x="3820237" y="10182021"/>
                  <a:pt x="3828457" y="10201547"/>
                </a:cubicBezTo>
                <a:lnTo>
                  <a:pt x="3845505" y="10226891"/>
                </a:lnTo>
                <a:lnTo>
                  <a:pt x="3724813" y="10192618"/>
                </a:lnTo>
                <a:lnTo>
                  <a:pt x="3713787" y="10137913"/>
                </a:lnTo>
                <a:cubicBezTo>
                  <a:pt x="3713787" y="9991417"/>
                  <a:pt x="3832257" y="9872947"/>
                  <a:pt x="3978752" y="9872947"/>
                </a:cubicBezTo>
                <a:close/>
                <a:moveTo>
                  <a:pt x="3155832" y="9872947"/>
                </a:moveTo>
                <a:cubicBezTo>
                  <a:pt x="3265704" y="9872947"/>
                  <a:pt x="3359812" y="9939586"/>
                  <a:pt x="3399999" y="10034709"/>
                </a:cubicBezTo>
                <a:lnTo>
                  <a:pt x="3411035" y="10089469"/>
                </a:lnTo>
                <a:lnTo>
                  <a:pt x="3280434" y="10037975"/>
                </a:lnTo>
                <a:lnTo>
                  <a:pt x="3270003" y="10022469"/>
                </a:lnTo>
                <a:cubicBezTo>
                  <a:pt x="3240545" y="9993010"/>
                  <a:pt x="3199781" y="9974857"/>
                  <a:pt x="3154558" y="9974857"/>
                </a:cubicBezTo>
                <a:lnTo>
                  <a:pt x="3136355" y="9978507"/>
                </a:lnTo>
                <a:lnTo>
                  <a:pt x="3005935" y="9919545"/>
                </a:lnTo>
                <a:lnTo>
                  <a:pt x="3007618" y="9918157"/>
                </a:lnTo>
                <a:cubicBezTo>
                  <a:pt x="3049902" y="9889607"/>
                  <a:pt x="3100897" y="9872947"/>
                  <a:pt x="3155832" y="9872947"/>
                </a:cubicBezTo>
                <a:close/>
                <a:moveTo>
                  <a:pt x="7851277" y="9262761"/>
                </a:moveTo>
                <a:lnTo>
                  <a:pt x="8362099" y="9262761"/>
                </a:lnTo>
                <a:lnTo>
                  <a:pt x="8362099" y="9346902"/>
                </a:lnTo>
                <a:lnTo>
                  <a:pt x="8339488" y="9364671"/>
                </a:lnTo>
                <a:lnTo>
                  <a:pt x="7851277" y="9364671"/>
                </a:lnTo>
                <a:close/>
                <a:moveTo>
                  <a:pt x="5379965" y="9262761"/>
                </a:moveTo>
                <a:lnTo>
                  <a:pt x="5890787" y="9262761"/>
                </a:lnTo>
                <a:lnTo>
                  <a:pt x="5890787" y="9364671"/>
                </a:lnTo>
                <a:lnTo>
                  <a:pt x="5379965" y="9364671"/>
                </a:lnTo>
                <a:close/>
                <a:moveTo>
                  <a:pt x="4546902" y="9262761"/>
                </a:moveTo>
                <a:lnTo>
                  <a:pt x="5057725" y="9262761"/>
                </a:lnTo>
                <a:lnTo>
                  <a:pt x="5057725" y="9364671"/>
                </a:lnTo>
                <a:lnTo>
                  <a:pt x="4546902" y="9364671"/>
                </a:lnTo>
                <a:close/>
                <a:moveTo>
                  <a:pt x="2899787" y="9262761"/>
                </a:moveTo>
                <a:lnTo>
                  <a:pt x="3410609" y="9262761"/>
                </a:lnTo>
                <a:lnTo>
                  <a:pt x="3410609" y="9364671"/>
                </a:lnTo>
                <a:lnTo>
                  <a:pt x="2899787" y="9364671"/>
                </a:lnTo>
                <a:close/>
                <a:moveTo>
                  <a:pt x="6450017" y="9150661"/>
                </a:moveTo>
                <a:cubicBezTo>
                  <a:pt x="6359572" y="9150661"/>
                  <a:pt x="6286962" y="9223273"/>
                  <a:pt x="6286962" y="9313717"/>
                </a:cubicBezTo>
                <a:cubicBezTo>
                  <a:pt x="6286962" y="9404161"/>
                  <a:pt x="6359572" y="9476773"/>
                  <a:pt x="6450017" y="9476773"/>
                </a:cubicBezTo>
                <a:cubicBezTo>
                  <a:pt x="6540463" y="9476773"/>
                  <a:pt x="6613073" y="9404161"/>
                  <a:pt x="6613073" y="9313717"/>
                </a:cubicBezTo>
                <a:cubicBezTo>
                  <a:pt x="6613073" y="9223273"/>
                  <a:pt x="6540463" y="9150661"/>
                  <a:pt x="6450017" y="9150661"/>
                </a:cubicBezTo>
                <a:close/>
                <a:moveTo>
                  <a:pt x="3978754" y="9150661"/>
                </a:moveTo>
                <a:cubicBezTo>
                  <a:pt x="3889583" y="9150661"/>
                  <a:pt x="3815700" y="9223273"/>
                  <a:pt x="3815700" y="9313717"/>
                </a:cubicBezTo>
                <a:cubicBezTo>
                  <a:pt x="3815700" y="9404161"/>
                  <a:pt x="3888310" y="9476773"/>
                  <a:pt x="3978754" y="9476773"/>
                </a:cubicBezTo>
                <a:cubicBezTo>
                  <a:pt x="4069201" y="9476773"/>
                  <a:pt x="4141811" y="9404161"/>
                  <a:pt x="4141811" y="9313717"/>
                </a:cubicBezTo>
                <a:cubicBezTo>
                  <a:pt x="4141811" y="9223273"/>
                  <a:pt x="4069201" y="9150661"/>
                  <a:pt x="3978754" y="9150661"/>
                </a:cubicBezTo>
                <a:close/>
                <a:moveTo>
                  <a:pt x="7232175" y="9057669"/>
                </a:moveTo>
                <a:lnTo>
                  <a:pt x="7334085" y="9057669"/>
                </a:lnTo>
                <a:lnTo>
                  <a:pt x="7334085" y="9568493"/>
                </a:lnTo>
                <a:lnTo>
                  <a:pt x="7232175" y="9568493"/>
                </a:lnTo>
                <a:close/>
                <a:moveTo>
                  <a:pt x="2280685" y="9057669"/>
                </a:moveTo>
                <a:lnTo>
                  <a:pt x="2382595" y="9057669"/>
                </a:lnTo>
                <a:lnTo>
                  <a:pt x="2382595" y="9568493"/>
                </a:lnTo>
                <a:lnTo>
                  <a:pt x="2374638" y="9568493"/>
                </a:lnTo>
                <a:lnTo>
                  <a:pt x="2297278" y="9518899"/>
                </a:lnTo>
                <a:lnTo>
                  <a:pt x="2280685" y="9507099"/>
                </a:lnTo>
                <a:close/>
                <a:moveTo>
                  <a:pt x="6450017" y="9048751"/>
                </a:moveTo>
                <a:cubicBezTo>
                  <a:pt x="6596513" y="9048751"/>
                  <a:pt x="6714982" y="9167221"/>
                  <a:pt x="6714982" y="9313717"/>
                </a:cubicBezTo>
                <a:cubicBezTo>
                  <a:pt x="6714982" y="9460213"/>
                  <a:pt x="6596513" y="9578681"/>
                  <a:pt x="6450017" y="9578681"/>
                </a:cubicBezTo>
                <a:cubicBezTo>
                  <a:pt x="6303522" y="9578681"/>
                  <a:pt x="6185052" y="9460213"/>
                  <a:pt x="6185052" y="9313717"/>
                </a:cubicBezTo>
                <a:cubicBezTo>
                  <a:pt x="6185052" y="9167221"/>
                  <a:pt x="6303522" y="9048751"/>
                  <a:pt x="6450017" y="9048751"/>
                </a:cubicBezTo>
                <a:close/>
                <a:moveTo>
                  <a:pt x="3978754" y="9048751"/>
                </a:moveTo>
                <a:cubicBezTo>
                  <a:pt x="4125250" y="9048751"/>
                  <a:pt x="4243720" y="9167221"/>
                  <a:pt x="4243720" y="9313717"/>
                </a:cubicBezTo>
                <a:cubicBezTo>
                  <a:pt x="4243720" y="9460213"/>
                  <a:pt x="4125250" y="9578681"/>
                  <a:pt x="3978754" y="9578681"/>
                </a:cubicBezTo>
                <a:cubicBezTo>
                  <a:pt x="3832260" y="9578681"/>
                  <a:pt x="3713789" y="9460213"/>
                  <a:pt x="3713789" y="9313717"/>
                </a:cubicBezTo>
                <a:cubicBezTo>
                  <a:pt x="3713789" y="9167221"/>
                  <a:pt x="3832260" y="9048751"/>
                  <a:pt x="3978754" y="9048751"/>
                </a:cubicBezTo>
                <a:close/>
                <a:moveTo>
                  <a:pt x="5676776" y="8665264"/>
                </a:moveTo>
                <a:lnTo>
                  <a:pt x="5676776" y="8745569"/>
                </a:lnTo>
                <a:lnTo>
                  <a:pt x="5574867" y="8745569"/>
                </a:lnTo>
                <a:lnTo>
                  <a:pt x="5574867" y="8678214"/>
                </a:lnTo>
                <a:close/>
                <a:moveTo>
                  <a:pt x="3918880" y="8449859"/>
                </a:moveTo>
                <a:lnTo>
                  <a:pt x="4007509" y="8484804"/>
                </a:lnTo>
                <a:lnTo>
                  <a:pt x="4020789" y="8489298"/>
                </a:lnTo>
                <a:lnTo>
                  <a:pt x="4020789" y="8745569"/>
                </a:lnTo>
                <a:lnTo>
                  <a:pt x="3918880" y="8745569"/>
                </a:lnTo>
                <a:close/>
                <a:moveTo>
                  <a:pt x="7018165" y="8438567"/>
                </a:moveTo>
                <a:lnTo>
                  <a:pt x="7528988" y="8438567"/>
                </a:lnTo>
                <a:lnTo>
                  <a:pt x="7528988" y="8540477"/>
                </a:lnTo>
                <a:lnTo>
                  <a:pt x="7018165" y="8540477"/>
                </a:lnTo>
                <a:close/>
                <a:moveTo>
                  <a:pt x="6530840" y="8438567"/>
                </a:moveTo>
                <a:lnTo>
                  <a:pt x="6697148" y="8438567"/>
                </a:lnTo>
                <a:lnTo>
                  <a:pt x="6697148" y="8540477"/>
                </a:lnTo>
                <a:lnTo>
                  <a:pt x="6248661" y="8540477"/>
                </a:lnTo>
                <a:lnTo>
                  <a:pt x="6251001" y="8539813"/>
                </a:lnTo>
                <a:cubicBezTo>
                  <a:pt x="6305781" y="8522774"/>
                  <a:pt x="6359984" y="8504426"/>
                  <a:pt x="6413573" y="8484804"/>
                </a:cubicBezTo>
                <a:close/>
                <a:moveTo>
                  <a:pt x="2066673" y="8438567"/>
                </a:moveTo>
                <a:lnTo>
                  <a:pt x="2577496" y="8438567"/>
                </a:lnTo>
                <a:lnTo>
                  <a:pt x="2577496" y="8540477"/>
                </a:lnTo>
                <a:lnTo>
                  <a:pt x="2066673" y="8540477"/>
                </a:lnTo>
                <a:close/>
                <a:moveTo>
                  <a:pt x="1234837" y="8438567"/>
                </a:moveTo>
                <a:lnTo>
                  <a:pt x="1745660" y="8438567"/>
                </a:lnTo>
                <a:lnTo>
                  <a:pt x="1745660" y="8540477"/>
                </a:lnTo>
                <a:lnTo>
                  <a:pt x="1234837" y="8540477"/>
                </a:lnTo>
                <a:close/>
                <a:moveTo>
                  <a:pt x="8870376" y="8234747"/>
                </a:moveTo>
                <a:lnTo>
                  <a:pt x="8972285" y="8234747"/>
                </a:lnTo>
                <a:lnTo>
                  <a:pt x="8972285" y="8745569"/>
                </a:lnTo>
                <a:lnTo>
                  <a:pt x="8870376" y="8745569"/>
                </a:lnTo>
                <a:close/>
                <a:moveTo>
                  <a:pt x="8046180" y="8234747"/>
                </a:moveTo>
                <a:lnTo>
                  <a:pt x="8148089" y="8234747"/>
                </a:lnTo>
                <a:lnTo>
                  <a:pt x="8148089" y="8745569"/>
                </a:lnTo>
                <a:lnTo>
                  <a:pt x="8046180" y="8745569"/>
                </a:lnTo>
                <a:close/>
                <a:moveTo>
                  <a:pt x="3094685" y="8234747"/>
                </a:moveTo>
                <a:lnTo>
                  <a:pt x="3196595" y="8234747"/>
                </a:lnTo>
                <a:lnTo>
                  <a:pt x="3196595" y="8745569"/>
                </a:lnTo>
                <a:lnTo>
                  <a:pt x="3094685" y="8745569"/>
                </a:lnTo>
                <a:close/>
                <a:moveTo>
                  <a:pt x="9489477" y="7615645"/>
                </a:moveTo>
                <a:lnTo>
                  <a:pt x="9824110" y="7615645"/>
                </a:lnTo>
                <a:lnTo>
                  <a:pt x="9792198" y="7681890"/>
                </a:lnTo>
                <a:lnTo>
                  <a:pt x="9770531" y="7717555"/>
                </a:lnTo>
                <a:lnTo>
                  <a:pt x="9489477" y="7717555"/>
                </a:lnTo>
                <a:close/>
                <a:moveTo>
                  <a:pt x="8666557" y="7615645"/>
                </a:moveTo>
                <a:lnTo>
                  <a:pt x="9177379" y="7615645"/>
                </a:lnTo>
                <a:lnTo>
                  <a:pt x="9177379" y="7717555"/>
                </a:lnTo>
                <a:lnTo>
                  <a:pt x="8666557" y="7717555"/>
                </a:lnTo>
                <a:close/>
                <a:moveTo>
                  <a:pt x="2322721" y="7503545"/>
                </a:moveTo>
                <a:cubicBezTo>
                  <a:pt x="2232276" y="7503545"/>
                  <a:pt x="2159665" y="7576155"/>
                  <a:pt x="2159665" y="7666599"/>
                </a:cubicBezTo>
                <a:cubicBezTo>
                  <a:pt x="2159665" y="7757045"/>
                  <a:pt x="2232276" y="7829655"/>
                  <a:pt x="2322721" y="7829655"/>
                </a:cubicBezTo>
                <a:cubicBezTo>
                  <a:pt x="2411891" y="7828381"/>
                  <a:pt x="2485776" y="7755769"/>
                  <a:pt x="2485776" y="7666599"/>
                </a:cubicBezTo>
                <a:cubicBezTo>
                  <a:pt x="2485776" y="7576155"/>
                  <a:pt x="2413167" y="7503545"/>
                  <a:pt x="2322721" y="7503545"/>
                </a:cubicBezTo>
                <a:close/>
                <a:moveTo>
                  <a:pt x="8046180" y="7410553"/>
                </a:moveTo>
                <a:lnTo>
                  <a:pt x="8148089" y="7410553"/>
                </a:lnTo>
                <a:lnTo>
                  <a:pt x="8148089" y="7921375"/>
                </a:lnTo>
                <a:lnTo>
                  <a:pt x="8046180" y="7921375"/>
                </a:lnTo>
                <a:close/>
                <a:moveTo>
                  <a:pt x="1447573" y="7410553"/>
                </a:moveTo>
                <a:lnTo>
                  <a:pt x="1549483" y="7410553"/>
                </a:lnTo>
                <a:lnTo>
                  <a:pt x="1549483" y="7921375"/>
                </a:lnTo>
                <a:lnTo>
                  <a:pt x="1447573" y="7921375"/>
                </a:lnTo>
                <a:close/>
                <a:moveTo>
                  <a:pt x="2322721" y="7401633"/>
                </a:moveTo>
                <a:cubicBezTo>
                  <a:pt x="2469216" y="7401633"/>
                  <a:pt x="2587686" y="7520105"/>
                  <a:pt x="2587686" y="7666599"/>
                </a:cubicBezTo>
                <a:cubicBezTo>
                  <a:pt x="2587686" y="7813095"/>
                  <a:pt x="2469216" y="7931565"/>
                  <a:pt x="2322721" y="7931565"/>
                </a:cubicBezTo>
                <a:cubicBezTo>
                  <a:pt x="2176225" y="7930291"/>
                  <a:pt x="2057755" y="7811821"/>
                  <a:pt x="2057755" y="7666599"/>
                </a:cubicBezTo>
                <a:cubicBezTo>
                  <a:pt x="2057755" y="7520105"/>
                  <a:pt x="2176225" y="7401633"/>
                  <a:pt x="2322721" y="7401633"/>
                </a:cubicBezTo>
                <a:close/>
                <a:moveTo>
                  <a:pt x="674333" y="7401633"/>
                </a:moveTo>
                <a:cubicBezTo>
                  <a:pt x="820829" y="7401633"/>
                  <a:pt x="939299" y="7520105"/>
                  <a:pt x="939299" y="7666599"/>
                </a:cubicBezTo>
                <a:cubicBezTo>
                  <a:pt x="939299" y="7776471"/>
                  <a:pt x="872660" y="7870579"/>
                  <a:pt x="777537" y="7910765"/>
                </a:cubicBezTo>
                <a:lnTo>
                  <a:pt x="769452" y="7913271"/>
                </a:lnTo>
                <a:lnTo>
                  <a:pt x="713980" y="7821961"/>
                </a:lnTo>
                <a:lnTo>
                  <a:pt x="739241" y="7816897"/>
                </a:lnTo>
                <a:cubicBezTo>
                  <a:pt x="797819" y="7792235"/>
                  <a:pt x="838662" y="7734434"/>
                  <a:pt x="838662" y="7666599"/>
                </a:cubicBezTo>
                <a:cubicBezTo>
                  <a:pt x="838662" y="7576155"/>
                  <a:pt x="766051" y="7503545"/>
                  <a:pt x="675607" y="7503545"/>
                </a:cubicBezTo>
                <a:cubicBezTo>
                  <a:pt x="652996" y="7503545"/>
                  <a:pt x="631500" y="7508083"/>
                  <a:pt x="611973" y="7516304"/>
                </a:cubicBezTo>
                <a:lnTo>
                  <a:pt x="564501" y="7548238"/>
                </a:lnTo>
                <a:lnTo>
                  <a:pt x="518632" y="7453019"/>
                </a:lnTo>
                <a:lnTo>
                  <a:pt x="526119" y="7446844"/>
                </a:lnTo>
                <a:cubicBezTo>
                  <a:pt x="568403" y="7418293"/>
                  <a:pt x="619397" y="7401633"/>
                  <a:pt x="674333" y="7401633"/>
                </a:cubicBezTo>
                <a:close/>
                <a:moveTo>
                  <a:pt x="8148089" y="7094869"/>
                </a:moveTo>
                <a:lnTo>
                  <a:pt x="8148089" y="7097179"/>
                </a:lnTo>
                <a:lnTo>
                  <a:pt x="8146686" y="7097179"/>
                </a:lnTo>
                <a:close/>
                <a:moveTo>
                  <a:pt x="8665281" y="6791449"/>
                </a:moveTo>
                <a:lnTo>
                  <a:pt x="9176104" y="6791449"/>
                </a:lnTo>
                <a:lnTo>
                  <a:pt x="9176104" y="6893357"/>
                </a:lnTo>
                <a:lnTo>
                  <a:pt x="8665281" y="6893357"/>
                </a:lnTo>
                <a:close/>
                <a:moveTo>
                  <a:pt x="2066681" y="6791449"/>
                </a:moveTo>
                <a:lnTo>
                  <a:pt x="2098040" y="6791449"/>
                </a:lnTo>
                <a:lnTo>
                  <a:pt x="2133958" y="6866010"/>
                </a:lnTo>
                <a:lnTo>
                  <a:pt x="2150572" y="6893357"/>
                </a:lnTo>
                <a:lnTo>
                  <a:pt x="2066681" y="6893357"/>
                </a:lnTo>
                <a:close/>
                <a:moveTo>
                  <a:pt x="419562" y="6791449"/>
                </a:moveTo>
                <a:lnTo>
                  <a:pt x="930385" y="6791449"/>
                </a:lnTo>
                <a:lnTo>
                  <a:pt x="930385" y="6893357"/>
                </a:lnTo>
                <a:lnTo>
                  <a:pt x="419562" y="6893357"/>
                </a:lnTo>
                <a:close/>
                <a:moveTo>
                  <a:pt x="9745526" y="6679349"/>
                </a:moveTo>
                <a:cubicBezTo>
                  <a:pt x="9655081" y="6679349"/>
                  <a:pt x="9582469" y="6751961"/>
                  <a:pt x="9582469" y="6842405"/>
                </a:cubicBezTo>
                <a:cubicBezTo>
                  <a:pt x="9582469" y="6932849"/>
                  <a:pt x="9655081" y="7005461"/>
                  <a:pt x="9745526" y="7005461"/>
                </a:cubicBezTo>
                <a:cubicBezTo>
                  <a:pt x="9835970" y="7005461"/>
                  <a:pt x="9908582" y="6932849"/>
                  <a:pt x="9908582" y="6842405"/>
                </a:cubicBezTo>
                <a:cubicBezTo>
                  <a:pt x="9908582" y="6751961"/>
                  <a:pt x="9835970" y="6679349"/>
                  <a:pt x="9745526" y="6679349"/>
                </a:cubicBezTo>
                <a:close/>
                <a:moveTo>
                  <a:pt x="1498533" y="6679349"/>
                </a:moveTo>
                <a:cubicBezTo>
                  <a:pt x="1408088" y="6679349"/>
                  <a:pt x="1335477" y="6751961"/>
                  <a:pt x="1335477" y="6842405"/>
                </a:cubicBezTo>
                <a:cubicBezTo>
                  <a:pt x="1335477" y="6932849"/>
                  <a:pt x="1408088" y="7005461"/>
                  <a:pt x="1498533" y="7005461"/>
                </a:cubicBezTo>
                <a:cubicBezTo>
                  <a:pt x="1588977" y="7005461"/>
                  <a:pt x="1661588" y="6932849"/>
                  <a:pt x="1661588" y="6842405"/>
                </a:cubicBezTo>
                <a:cubicBezTo>
                  <a:pt x="1661588" y="6751961"/>
                  <a:pt x="1588977" y="6679349"/>
                  <a:pt x="1498533" y="6679349"/>
                </a:cubicBezTo>
                <a:close/>
                <a:moveTo>
                  <a:pt x="9744252" y="6577439"/>
                </a:moveTo>
                <a:cubicBezTo>
                  <a:pt x="9890747" y="6577439"/>
                  <a:pt x="10009217" y="6695909"/>
                  <a:pt x="10009217" y="6842405"/>
                </a:cubicBezTo>
                <a:cubicBezTo>
                  <a:pt x="10009217" y="6988901"/>
                  <a:pt x="9890747" y="7107369"/>
                  <a:pt x="9744252" y="7107369"/>
                </a:cubicBezTo>
                <a:cubicBezTo>
                  <a:pt x="9597757" y="7107369"/>
                  <a:pt x="9479286" y="6988901"/>
                  <a:pt x="9479286" y="6842405"/>
                </a:cubicBezTo>
                <a:cubicBezTo>
                  <a:pt x="9479286" y="6695909"/>
                  <a:pt x="9597757" y="6577439"/>
                  <a:pt x="9744252" y="6577439"/>
                </a:cubicBezTo>
                <a:close/>
                <a:moveTo>
                  <a:pt x="1499807" y="6577439"/>
                </a:moveTo>
                <a:cubicBezTo>
                  <a:pt x="1646302" y="6577439"/>
                  <a:pt x="1764771" y="6695909"/>
                  <a:pt x="1764771" y="6842405"/>
                </a:cubicBezTo>
                <a:cubicBezTo>
                  <a:pt x="1764771" y="6988901"/>
                  <a:pt x="1646302" y="7107369"/>
                  <a:pt x="1499807" y="7107369"/>
                </a:cubicBezTo>
                <a:cubicBezTo>
                  <a:pt x="1353311" y="7107369"/>
                  <a:pt x="1234841" y="6988901"/>
                  <a:pt x="1234841" y="6842405"/>
                </a:cubicBezTo>
                <a:cubicBezTo>
                  <a:pt x="1234841" y="6695909"/>
                  <a:pt x="1353311" y="6577439"/>
                  <a:pt x="1499807" y="6577439"/>
                </a:cubicBezTo>
                <a:close/>
                <a:moveTo>
                  <a:pt x="8921331" y="5855153"/>
                </a:moveTo>
                <a:cubicBezTo>
                  <a:pt x="8830884" y="5855153"/>
                  <a:pt x="8758274" y="5927763"/>
                  <a:pt x="8758274" y="6018209"/>
                </a:cubicBezTo>
                <a:cubicBezTo>
                  <a:pt x="8758274" y="6108653"/>
                  <a:pt x="8830884" y="6181265"/>
                  <a:pt x="8921331" y="6181265"/>
                </a:cubicBezTo>
                <a:cubicBezTo>
                  <a:pt x="9011775" y="6181265"/>
                  <a:pt x="9084385" y="6108653"/>
                  <a:pt x="9084385" y="6018209"/>
                </a:cubicBezTo>
                <a:cubicBezTo>
                  <a:pt x="9084385" y="5927763"/>
                  <a:pt x="9011775" y="5855153"/>
                  <a:pt x="8921331" y="5855153"/>
                </a:cubicBezTo>
                <a:close/>
                <a:moveTo>
                  <a:pt x="674337" y="5855153"/>
                </a:moveTo>
                <a:cubicBezTo>
                  <a:pt x="583892" y="5855153"/>
                  <a:pt x="511282" y="5927763"/>
                  <a:pt x="511282" y="6018209"/>
                </a:cubicBezTo>
                <a:cubicBezTo>
                  <a:pt x="511282" y="6108653"/>
                  <a:pt x="583892" y="6181265"/>
                  <a:pt x="674337" y="6181265"/>
                </a:cubicBezTo>
                <a:cubicBezTo>
                  <a:pt x="764782" y="6181265"/>
                  <a:pt x="837393" y="6108653"/>
                  <a:pt x="837393" y="6018209"/>
                </a:cubicBezTo>
                <a:cubicBezTo>
                  <a:pt x="837393" y="5927763"/>
                  <a:pt x="764782" y="5855153"/>
                  <a:pt x="674337" y="5855153"/>
                </a:cubicBezTo>
                <a:close/>
                <a:moveTo>
                  <a:pt x="10375356" y="5854333"/>
                </a:moveTo>
                <a:lnTo>
                  <a:pt x="10334572" y="6121561"/>
                </a:lnTo>
                <a:lnTo>
                  <a:pt x="10334472" y="6121413"/>
                </a:lnTo>
                <a:cubicBezTo>
                  <a:pt x="10321077" y="6089706"/>
                  <a:pt x="10313672" y="6054833"/>
                  <a:pt x="10313672" y="6018209"/>
                </a:cubicBezTo>
                <a:cubicBezTo>
                  <a:pt x="10313672" y="5981585"/>
                  <a:pt x="10321077" y="5946713"/>
                  <a:pt x="10334472" y="5915005"/>
                </a:cubicBezTo>
                <a:close/>
                <a:moveTo>
                  <a:pt x="9694571" y="5763433"/>
                </a:moveTo>
                <a:lnTo>
                  <a:pt x="9796481" y="5763433"/>
                </a:lnTo>
                <a:lnTo>
                  <a:pt x="9796481" y="6274257"/>
                </a:lnTo>
                <a:lnTo>
                  <a:pt x="9694571" y="6274257"/>
                </a:lnTo>
                <a:close/>
                <a:moveTo>
                  <a:pt x="1447575" y="5763433"/>
                </a:moveTo>
                <a:lnTo>
                  <a:pt x="1549485" y="5763433"/>
                </a:lnTo>
                <a:lnTo>
                  <a:pt x="1549485" y="6274257"/>
                </a:lnTo>
                <a:lnTo>
                  <a:pt x="1447575" y="6274257"/>
                </a:lnTo>
                <a:close/>
                <a:moveTo>
                  <a:pt x="8922604" y="5753243"/>
                </a:moveTo>
                <a:cubicBezTo>
                  <a:pt x="9069099" y="5753243"/>
                  <a:pt x="9187569" y="5871713"/>
                  <a:pt x="9187569" y="6018209"/>
                </a:cubicBezTo>
                <a:cubicBezTo>
                  <a:pt x="9187569" y="6164705"/>
                  <a:pt x="9069099" y="6283173"/>
                  <a:pt x="8922604" y="6283173"/>
                </a:cubicBezTo>
                <a:cubicBezTo>
                  <a:pt x="8776109" y="6283173"/>
                  <a:pt x="8657638" y="6164705"/>
                  <a:pt x="8657638" y="6018209"/>
                </a:cubicBezTo>
                <a:cubicBezTo>
                  <a:pt x="8657638" y="5871713"/>
                  <a:pt x="8776109" y="5753243"/>
                  <a:pt x="8922604" y="5753243"/>
                </a:cubicBezTo>
                <a:close/>
                <a:moveTo>
                  <a:pt x="675610" y="5753243"/>
                </a:moveTo>
                <a:cubicBezTo>
                  <a:pt x="822108" y="5753243"/>
                  <a:pt x="940577" y="5871713"/>
                  <a:pt x="940577" y="6018209"/>
                </a:cubicBezTo>
                <a:cubicBezTo>
                  <a:pt x="940577" y="6164705"/>
                  <a:pt x="822108" y="6283173"/>
                  <a:pt x="675610" y="6283173"/>
                </a:cubicBezTo>
                <a:cubicBezTo>
                  <a:pt x="529116" y="6283173"/>
                  <a:pt x="410646" y="6164705"/>
                  <a:pt x="410646" y="6018209"/>
                </a:cubicBezTo>
                <a:cubicBezTo>
                  <a:pt x="410646" y="5871713"/>
                  <a:pt x="529116" y="5753243"/>
                  <a:pt x="675610" y="5753243"/>
                </a:cubicBezTo>
                <a:close/>
                <a:moveTo>
                  <a:pt x="9489477" y="5143057"/>
                </a:moveTo>
                <a:lnTo>
                  <a:pt x="10000300" y="5143057"/>
                </a:lnTo>
                <a:lnTo>
                  <a:pt x="10000300" y="5244969"/>
                </a:lnTo>
                <a:lnTo>
                  <a:pt x="9489477" y="5244969"/>
                </a:lnTo>
                <a:close/>
                <a:moveTo>
                  <a:pt x="8706634" y="5143057"/>
                </a:moveTo>
                <a:lnTo>
                  <a:pt x="9176104" y="5143057"/>
                </a:lnTo>
                <a:lnTo>
                  <a:pt x="9176104" y="5244969"/>
                </a:lnTo>
                <a:lnTo>
                  <a:pt x="8707060" y="5244969"/>
                </a:lnTo>
                <a:lnTo>
                  <a:pt x="8709420" y="5198237"/>
                </a:lnTo>
                <a:close/>
                <a:moveTo>
                  <a:pt x="1242485" y="5143057"/>
                </a:moveTo>
                <a:lnTo>
                  <a:pt x="1714449" y="5143057"/>
                </a:lnTo>
                <a:lnTo>
                  <a:pt x="1711662" y="5198237"/>
                </a:lnTo>
                <a:lnTo>
                  <a:pt x="1714022" y="5244969"/>
                </a:lnTo>
                <a:lnTo>
                  <a:pt x="1242485" y="5244969"/>
                </a:lnTo>
                <a:close/>
                <a:moveTo>
                  <a:pt x="2787" y="5143057"/>
                </a:moveTo>
                <a:lnTo>
                  <a:pt x="97302" y="5143057"/>
                </a:lnTo>
                <a:lnTo>
                  <a:pt x="97302" y="5244969"/>
                </a:lnTo>
                <a:lnTo>
                  <a:pt x="2360" y="5244969"/>
                </a:lnTo>
                <a:lnTo>
                  <a:pt x="0" y="5198237"/>
                </a:lnTo>
                <a:close/>
                <a:moveTo>
                  <a:pt x="623389" y="4939239"/>
                </a:moveTo>
                <a:lnTo>
                  <a:pt x="725299" y="4939239"/>
                </a:lnTo>
                <a:lnTo>
                  <a:pt x="725299" y="5450061"/>
                </a:lnTo>
                <a:lnTo>
                  <a:pt x="623389" y="5450061"/>
                </a:lnTo>
                <a:close/>
                <a:moveTo>
                  <a:pt x="86723" y="4273524"/>
                </a:moveTo>
                <a:lnTo>
                  <a:pt x="106218" y="4371093"/>
                </a:lnTo>
                <a:cubicBezTo>
                  <a:pt x="106218" y="4407717"/>
                  <a:pt x="98813" y="4442589"/>
                  <a:pt x="85418" y="4474296"/>
                </a:cubicBezTo>
                <a:lnTo>
                  <a:pt x="47492" y="4530579"/>
                </a:lnTo>
                <a:close/>
                <a:moveTo>
                  <a:pt x="9745526" y="4208037"/>
                </a:moveTo>
                <a:cubicBezTo>
                  <a:pt x="9655081" y="4208037"/>
                  <a:pt x="9582469" y="4280647"/>
                  <a:pt x="9582469" y="4371093"/>
                </a:cubicBezTo>
                <a:cubicBezTo>
                  <a:pt x="9582469" y="4461537"/>
                  <a:pt x="9655081" y="4534147"/>
                  <a:pt x="9745526" y="4534147"/>
                </a:cubicBezTo>
                <a:cubicBezTo>
                  <a:pt x="9835970" y="4534147"/>
                  <a:pt x="9908582" y="4461537"/>
                  <a:pt x="9908582" y="4371093"/>
                </a:cubicBezTo>
                <a:cubicBezTo>
                  <a:pt x="9908582" y="4280647"/>
                  <a:pt x="9835970" y="4208037"/>
                  <a:pt x="9745526" y="4208037"/>
                </a:cubicBezTo>
                <a:close/>
                <a:moveTo>
                  <a:pt x="1498539" y="4208037"/>
                </a:moveTo>
                <a:cubicBezTo>
                  <a:pt x="1408093" y="4208037"/>
                  <a:pt x="1335482" y="4280647"/>
                  <a:pt x="1335482" y="4371093"/>
                </a:cubicBezTo>
                <a:cubicBezTo>
                  <a:pt x="1335482" y="4461537"/>
                  <a:pt x="1408093" y="4534147"/>
                  <a:pt x="1498539" y="4534147"/>
                </a:cubicBezTo>
                <a:cubicBezTo>
                  <a:pt x="1588983" y="4534147"/>
                  <a:pt x="1661593" y="4461537"/>
                  <a:pt x="1661593" y="4371093"/>
                </a:cubicBezTo>
                <a:cubicBezTo>
                  <a:pt x="1661593" y="4280647"/>
                  <a:pt x="1588983" y="4208037"/>
                  <a:pt x="1498539" y="4208037"/>
                </a:cubicBezTo>
                <a:close/>
                <a:moveTo>
                  <a:pt x="8870376" y="4115043"/>
                </a:moveTo>
                <a:lnTo>
                  <a:pt x="8972285" y="4115043"/>
                </a:lnTo>
                <a:lnTo>
                  <a:pt x="8972285" y="4625865"/>
                </a:lnTo>
                <a:lnTo>
                  <a:pt x="8870376" y="4625865"/>
                </a:lnTo>
                <a:close/>
                <a:moveTo>
                  <a:pt x="623387" y="4115043"/>
                </a:moveTo>
                <a:lnTo>
                  <a:pt x="725297" y="4115043"/>
                </a:lnTo>
                <a:lnTo>
                  <a:pt x="725297" y="4625865"/>
                </a:lnTo>
                <a:lnTo>
                  <a:pt x="623387" y="4625865"/>
                </a:lnTo>
                <a:close/>
                <a:moveTo>
                  <a:pt x="9744252" y="4106125"/>
                </a:moveTo>
                <a:cubicBezTo>
                  <a:pt x="9890747" y="4106125"/>
                  <a:pt x="10009217" y="4224597"/>
                  <a:pt x="10009217" y="4371093"/>
                </a:cubicBezTo>
                <a:cubicBezTo>
                  <a:pt x="10009217" y="4517587"/>
                  <a:pt x="9890747" y="4636057"/>
                  <a:pt x="9744252" y="4636057"/>
                </a:cubicBezTo>
                <a:cubicBezTo>
                  <a:pt x="9597757" y="4636057"/>
                  <a:pt x="9479286" y="4517587"/>
                  <a:pt x="9479286" y="4371093"/>
                </a:cubicBezTo>
                <a:cubicBezTo>
                  <a:pt x="9479286" y="4224597"/>
                  <a:pt x="9597757" y="4106125"/>
                  <a:pt x="9744252" y="4106125"/>
                </a:cubicBezTo>
                <a:close/>
                <a:moveTo>
                  <a:pt x="1499812" y="4106125"/>
                </a:moveTo>
                <a:cubicBezTo>
                  <a:pt x="1646307" y="4106125"/>
                  <a:pt x="1764778" y="4224597"/>
                  <a:pt x="1764778" y="4371093"/>
                </a:cubicBezTo>
                <a:cubicBezTo>
                  <a:pt x="1764778" y="4517587"/>
                  <a:pt x="1646307" y="4636057"/>
                  <a:pt x="1499812" y="4636057"/>
                </a:cubicBezTo>
                <a:cubicBezTo>
                  <a:pt x="1353316" y="4634783"/>
                  <a:pt x="1234846" y="4517587"/>
                  <a:pt x="1234846" y="4371093"/>
                </a:cubicBezTo>
                <a:cubicBezTo>
                  <a:pt x="1234846" y="4224597"/>
                  <a:pt x="1353316" y="4106125"/>
                  <a:pt x="1499812" y="4106125"/>
                </a:cubicBezTo>
                <a:close/>
                <a:moveTo>
                  <a:pt x="9489477" y="3495941"/>
                </a:moveTo>
                <a:lnTo>
                  <a:pt x="10000300" y="3495941"/>
                </a:lnTo>
                <a:lnTo>
                  <a:pt x="10000300" y="3597851"/>
                </a:lnTo>
                <a:lnTo>
                  <a:pt x="9489477" y="3597851"/>
                </a:lnTo>
                <a:close/>
                <a:moveTo>
                  <a:pt x="2066685" y="3495941"/>
                </a:moveTo>
                <a:lnTo>
                  <a:pt x="2154931" y="3495941"/>
                </a:lnTo>
                <a:lnTo>
                  <a:pt x="2133958" y="3530464"/>
                </a:lnTo>
                <a:lnTo>
                  <a:pt x="2101496" y="3597851"/>
                </a:lnTo>
                <a:lnTo>
                  <a:pt x="2066685" y="3597851"/>
                </a:lnTo>
                <a:close/>
                <a:moveTo>
                  <a:pt x="674343" y="3383841"/>
                </a:moveTo>
                <a:cubicBezTo>
                  <a:pt x="583899" y="3383841"/>
                  <a:pt x="511289" y="3456451"/>
                  <a:pt x="511289" y="3546897"/>
                </a:cubicBezTo>
                <a:cubicBezTo>
                  <a:pt x="511289" y="3637341"/>
                  <a:pt x="583899" y="3709953"/>
                  <a:pt x="674343" y="3709953"/>
                </a:cubicBezTo>
                <a:cubicBezTo>
                  <a:pt x="764789" y="3709953"/>
                  <a:pt x="837399" y="3637341"/>
                  <a:pt x="837399" y="3546897"/>
                </a:cubicBezTo>
                <a:cubicBezTo>
                  <a:pt x="837399" y="3456451"/>
                  <a:pt x="764789" y="3383841"/>
                  <a:pt x="674343" y="3383841"/>
                </a:cubicBezTo>
                <a:close/>
                <a:moveTo>
                  <a:pt x="8870376" y="3292121"/>
                </a:moveTo>
                <a:lnTo>
                  <a:pt x="8972285" y="3292121"/>
                </a:lnTo>
                <a:lnTo>
                  <a:pt x="8972285" y="3802945"/>
                </a:lnTo>
                <a:lnTo>
                  <a:pt x="8870376" y="3802945"/>
                </a:lnTo>
                <a:close/>
                <a:moveTo>
                  <a:pt x="8142327" y="3292121"/>
                </a:moveTo>
                <a:lnTo>
                  <a:pt x="8148089" y="3292121"/>
                </a:lnTo>
                <a:lnTo>
                  <a:pt x="8148089" y="3301606"/>
                </a:lnTo>
                <a:close/>
                <a:moveTo>
                  <a:pt x="1447583" y="3292121"/>
                </a:moveTo>
                <a:lnTo>
                  <a:pt x="1549493" y="3292121"/>
                </a:lnTo>
                <a:lnTo>
                  <a:pt x="1549493" y="3802945"/>
                </a:lnTo>
                <a:lnTo>
                  <a:pt x="1447583" y="3802945"/>
                </a:lnTo>
                <a:close/>
                <a:moveTo>
                  <a:pt x="675617" y="3281931"/>
                </a:moveTo>
                <a:cubicBezTo>
                  <a:pt x="822113" y="3281931"/>
                  <a:pt x="940583" y="3400401"/>
                  <a:pt x="940583" y="3546897"/>
                </a:cubicBezTo>
                <a:cubicBezTo>
                  <a:pt x="940583" y="3693393"/>
                  <a:pt x="822113" y="3811861"/>
                  <a:pt x="675617" y="3811861"/>
                </a:cubicBezTo>
                <a:cubicBezTo>
                  <a:pt x="529123" y="3811861"/>
                  <a:pt x="410652" y="3693393"/>
                  <a:pt x="410652" y="3546897"/>
                </a:cubicBezTo>
                <a:cubicBezTo>
                  <a:pt x="410652" y="3400401"/>
                  <a:pt x="529123" y="3281931"/>
                  <a:pt x="675617" y="3281931"/>
                </a:cubicBezTo>
                <a:close/>
                <a:moveTo>
                  <a:pt x="1242482" y="2671745"/>
                </a:moveTo>
                <a:lnTo>
                  <a:pt x="1753305" y="2671745"/>
                </a:lnTo>
                <a:lnTo>
                  <a:pt x="1753305" y="2773657"/>
                </a:lnTo>
                <a:lnTo>
                  <a:pt x="1242482" y="2773657"/>
                </a:lnTo>
                <a:close/>
                <a:moveTo>
                  <a:pt x="8921331" y="2560919"/>
                </a:moveTo>
                <a:cubicBezTo>
                  <a:pt x="8832160" y="2560919"/>
                  <a:pt x="8758275" y="2633529"/>
                  <a:pt x="8758275" y="2723975"/>
                </a:cubicBezTo>
                <a:cubicBezTo>
                  <a:pt x="8758275" y="2814419"/>
                  <a:pt x="8830885" y="2887029"/>
                  <a:pt x="8921331" y="2887029"/>
                </a:cubicBezTo>
                <a:cubicBezTo>
                  <a:pt x="9011776" y="2887029"/>
                  <a:pt x="9084386" y="2814419"/>
                  <a:pt x="9084386" y="2723975"/>
                </a:cubicBezTo>
                <a:cubicBezTo>
                  <a:pt x="9084386" y="2633529"/>
                  <a:pt x="9011776" y="2560919"/>
                  <a:pt x="8921331" y="2560919"/>
                </a:cubicBezTo>
                <a:close/>
                <a:moveTo>
                  <a:pt x="2322726" y="2560919"/>
                </a:moveTo>
                <a:cubicBezTo>
                  <a:pt x="2232282" y="2560919"/>
                  <a:pt x="2159671" y="2633529"/>
                  <a:pt x="2159671" y="2723975"/>
                </a:cubicBezTo>
                <a:cubicBezTo>
                  <a:pt x="2159671" y="2814419"/>
                  <a:pt x="2232282" y="2887029"/>
                  <a:pt x="2322726" y="2887029"/>
                </a:cubicBezTo>
                <a:cubicBezTo>
                  <a:pt x="2411897" y="2885757"/>
                  <a:pt x="2485782" y="2813145"/>
                  <a:pt x="2485782" y="2723975"/>
                </a:cubicBezTo>
                <a:cubicBezTo>
                  <a:pt x="2485782" y="2633529"/>
                  <a:pt x="2413173" y="2560919"/>
                  <a:pt x="2322726" y="2560919"/>
                </a:cubicBezTo>
                <a:close/>
                <a:moveTo>
                  <a:pt x="9694571" y="2553886"/>
                </a:moveTo>
                <a:lnTo>
                  <a:pt x="9792198" y="2714584"/>
                </a:lnTo>
                <a:lnTo>
                  <a:pt x="9796481" y="2723476"/>
                </a:lnTo>
                <a:lnTo>
                  <a:pt x="9796481" y="2978749"/>
                </a:lnTo>
                <a:lnTo>
                  <a:pt x="9694571" y="2978749"/>
                </a:lnTo>
                <a:close/>
                <a:moveTo>
                  <a:pt x="772671" y="2477905"/>
                </a:moveTo>
                <a:lnTo>
                  <a:pt x="778813" y="2479809"/>
                </a:lnTo>
                <a:cubicBezTo>
                  <a:pt x="873936" y="2519996"/>
                  <a:pt x="940575" y="2614103"/>
                  <a:pt x="940575" y="2723975"/>
                </a:cubicBezTo>
                <a:cubicBezTo>
                  <a:pt x="940575" y="2870469"/>
                  <a:pt x="822106" y="2988941"/>
                  <a:pt x="675608" y="2988941"/>
                </a:cubicBezTo>
                <a:cubicBezTo>
                  <a:pt x="620673" y="2988463"/>
                  <a:pt x="569678" y="2971504"/>
                  <a:pt x="527394" y="2942835"/>
                </a:cubicBezTo>
                <a:lnTo>
                  <a:pt x="521341" y="2937832"/>
                </a:lnTo>
                <a:lnTo>
                  <a:pt x="566336" y="2844427"/>
                </a:lnTo>
                <a:lnTo>
                  <a:pt x="610701" y="2874271"/>
                </a:lnTo>
                <a:cubicBezTo>
                  <a:pt x="630227" y="2882491"/>
                  <a:pt x="651723" y="2887029"/>
                  <a:pt x="674334" y="2887029"/>
                </a:cubicBezTo>
                <a:cubicBezTo>
                  <a:pt x="764780" y="2885757"/>
                  <a:pt x="837390" y="2813145"/>
                  <a:pt x="837390" y="2723975"/>
                </a:cubicBezTo>
                <a:cubicBezTo>
                  <a:pt x="837390" y="2656141"/>
                  <a:pt x="796547" y="2598339"/>
                  <a:pt x="737968" y="2573678"/>
                </a:cubicBezTo>
                <a:lnTo>
                  <a:pt x="717037" y="2569481"/>
                </a:lnTo>
                <a:close/>
                <a:moveTo>
                  <a:pt x="8046180" y="2467925"/>
                </a:moveTo>
                <a:lnTo>
                  <a:pt x="8148089" y="2467925"/>
                </a:lnTo>
                <a:lnTo>
                  <a:pt x="8148089" y="2978749"/>
                </a:lnTo>
                <a:lnTo>
                  <a:pt x="8046180" y="2978749"/>
                </a:lnTo>
                <a:close/>
                <a:moveTo>
                  <a:pt x="8921331" y="2459009"/>
                </a:moveTo>
                <a:cubicBezTo>
                  <a:pt x="9067826" y="2459009"/>
                  <a:pt x="9186296" y="2577479"/>
                  <a:pt x="9186296" y="2723975"/>
                </a:cubicBezTo>
                <a:cubicBezTo>
                  <a:pt x="9186296" y="2870469"/>
                  <a:pt x="9067826" y="2988941"/>
                  <a:pt x="8921331" y="2988941"/>
                </a:cubicBezTo>
                <a:cubicBezTo>
                  <a:pt x="8774836" y="2988941"/>
                  <a:pt x="8656365" y="2870469"/>
                  <a:pt x="8656365" y="2723975"/>
                </a:cubicBezTo>
                <a:cubicBezTo>
                  <a:pt x="8656365" y="2577479"/>
                  <a:pt x="8774836" y="2459009"/>
                  <a:pt x="8921331" y="2459009"/>
                </a:cubicBezTo>
                <a:close/>
                <a:moveTo>
                  <a:pt x="2322726" y="2459009"/>
                </a:moveTo>
                <a:cubicBezTo>
                  <a:pt x="2469222" y="2459009"/>
                  <a:pt x="2587692" y="2577479"/>
                  <a:pt x="2587692" y="2723975"/>
                </a:cubicBezTo>
                <a:cubicBezTo>
                  <a:pt x="2587692" y="2870469"/>
                  <a:pt x="2469222" y="2988941"/>
                  <a:pt x="2322726" y="2988941"/>
                </a:cubicBezTo>
                <a:cubicBezTo>
                  <a:pt x="2176232" y="2988941"/>
                  <a:pt x="2057761" y="2869197"/>
                  <a:pt x="2057761" y="2723975"/>
                </a:cubicBezTo>
                <a:cubicBezTo>
                  <a:pt x="2057761" y="2577479"/>
                  <a:pt x="2176232" y="2459009"/>
                  <a:pt x="2322726" y="2459009"/>
                </a:cubicBezTo>
                <a:close/>
                <a:moveTo>
                  <a:pt x="7842360" y="1848825"/>
                </a:moveTo>
                <a:lnTo>
                  <a:pt x="8353182" y="1848825"/>
                </a:lnTo>
                <a:lnTo>
                  <a:pt x="8353182" y="1950733"/>
                </a:lnTo>
                <a:lnTo>
                  <a:pt x="7842360" y="1950733"/>
                </a:lnTo>
                <a:close/>
                <a:moveTo>
                  <a:pt x="6223404" y="1848825"/>
                </a:moveTo>
                <a:lnTo>
                  <a:pt x="6704792" y="1848825"/>
                </a:lnTo>
                <a:lnTo>
                  <a:pt x="6704792" y="1950733"/>
                </a:lnTo>
                <a:lnTo>
                  <a:pt x="6512646" y="1950733"/>
                </a:lnTo>
                <a:lnTo>
                  <a:pt x="6413573" y="1911670"/>
                </a:lnTo>
                <a:cubicBezTo>
                  <a:pt x="6359984" y="1892049"/>
                  <a:pt x="6305781" y="1873700"/>
                  <a:pt x="6251001" y="1856662"/>
                </a:cubicBezTo>
                <a:close/>
                <a:moveTo>
                  <a:pt x="2890884" y="1848825"/>
                </a:moveTo>
                <a:lnTo>
                  <a:pt x="3401707" y="1848825"/>
                </a:lnTo>
                <a:lnTo>
                  <a:pt x="3401707" y="1950733"/>
                </a:lnTo>
                <a:lnTo>
                  <a:pt x="2890884" y="1950733"/>
                </a:lnTo>
                <a:close/>
                <a:moveTo>
                  <a:pt x="1242493" y="1848825"/>
                </a:moveTo>
                <a:lnTo>
                  <a:pt x="1753316" y="1848825"/>
                </a:lnTo>
                <a:lnTo>
                  <a:pt x="1753316" y="1950733"/>
                </a:lnTo>
                <a:lnTo>
                  <a:pt x="1242493" y="1950733"/>
                </a:lnTo>
                <a:close/>
                <a:moveTo>
                  <a:pt x="8921331" y="1736725"/>
                </a:moveTo>
                <a:cubicBezTo>
                  <a:pt x="8832160" y="1736725"/>
                  <a:pt x="8758275" y="1809335"/>
                  <a:pt x="8758275" y="1899781"/>
                </a:cubicBezTo>
                <a:cubicBezTo>
                  <a:pt x="8758275" y="1990225"/>
                  <a:pt x="8830885" y="2062835"/>
                  <a:pt x="8921331" y="2062835"/>
                </a:cubicBezTo>
                <a:cubicBezTo>
                  <a:pt x="9011776" y="2062835"/>
                  <a:pt x="9084386" y="1990225"/>
                  <a:pt x="9084386" y="1899781"/>
                </a:cubicBezTo>
                <a:cubicBezTo>
                  <a:pt x="9084386" y="1809335"/>
                  <a:pt x="9011776" y="1736725"/>
                  <a:pt x="8921331" y="1736725"/>
                </a:cubicBezTo>
                <a:close/>
                <a:moveTo>
                  <a:pt x="7223258" y="1643731"/>
                </a:moveTo>
                <a:lnTo>
                  <a:pt x="7325168" y="1643731"/>
                </a:lnTo>
                <a:lnTo>
                  <a:pt x="7325168" y="2154553"/>
                </a:lnTo>
                <a:lnTo>
                  <a:pt x="7223258" y="2154553"/>
                </a:lnTo>
                <a:close/>
                <a:moveTo>
                  <a:pt x="2271782" y="1643731"/>
                </a:moveTo>
                <a:lnTo>
                  <a:pt x="2373691" y="1643731"/>
                </a:lnTo>
                <a:lnTo>
                  <a:pt x="2373691" y="2154553"/>
                </a:lnTo>
                <a:lnTo>
                  <a:pt x="2271782" y="2154553"/>
                </a:lnTo>
                <a:close/>
                <a:moveTo>
                  <a:pt x="8921331" y="1634813"/>
                </a:moveTo>
                <a:cubicBezTo>
                  <a:pt x="8957955" y="1634813"/>
                  <a:pt x="8992827" y="1642218"/>
                  <a:pt x="9024534" y="1655614"/>
                </a:cubicBezTo>
                <a:lnTo>
                  <a:pt x="9036119" y="1661896"/>
                </a:lnTo>
                <a:lnTo>
                  <a:pt x="9067478" y="1694788"/>
                </a:lnTo>
                <a:lnTo>
                  <a:pt x="9168482" y="1811390"/>
                </a:lnTo>
                <a:lnTo>
                  <a:pt x="9186296" y="1899781"/>
                </a:lnTo>
                <a:cubicBezTo>
                  <a:pt x="9186296" y="2046275"/>
                  <a:pt x="9067826" y="2164745"/>
                  <a:pt x="8921331" y="2164745"/>
                </a:cubicBezTo>
                <a:cubicBezTo>
                  <a:pt x="8774836" y="2164745"/>
                  <a:pt x="8656365" y="2046275"/>
                  <a:pt x="8656365" y="1899781"/>
                </a:cubicBezTo>
                <a:cubicBezTo>
                  <a:pt x="8656365" y="1753285"/>
                  <a:pt x="8774836" y="1634813"/>
                  <a:pt x="8921331" y="1634813"/>
                </a:cubicBezTo>
                <a:close/>
                <a:moveTo>
                  <a:pt x="3969851" y="1634813"/>
                </a:moveTo>
                <a:cubicBezTo>
                  <a:pt x="4079723" y="1634813"/>
                  <a:pt x="4173831" y="1701454"/>
                  <a:pt x="4214017" y="1796577"/>
                </a:cubicBezTo>
                <a:lnTo>
                  <a:pt x="4223093" y="1841608"/>
                </a:lnTo>
                <a:lnTo>
                  <a:pt x="4170081" y="1856662"/>
                </a:lnTo>
                <a:lnTo>
                  <a:pt x="4127174" y="1871180"/>
                </a:lnTo>
                <a:lnTo>
                  <a:pt x="4120150" y="1836147"/>
                </a:lnTo>
                <a:cubicBezTo>
                  <a:pt x="4095488" y="1777568"/>
                  <a:pt x="4037686" y="1736725"/>
                  <a:pt x="3969851" y="1736725"/>
                </a:cubicBezTo>
                <a:cubicBezTo>
                  <a:pt x="3880680" y="1736725"/>
                  <a:pt x="3806796" y="1809335"/>
                  <a:pt x="3806796" y="1899781"/>
                </a:cubicBezTo>
                <a:cubicBezTo>
                  <a:pt x="3806796" y="1922392"/>
                  <a:pt x="3811334" y="1943889"/>
                  <a:pt x="3819555" y="1963414"/>
                </a:cubicBezTo>
                <a:lnTo>
                  <a:pt x="3832208" y="1982224"/>
                </a:lnTo>
                <a:lnTo>
                  <a:pt x="3741230" y="2026051"/>
                </a:lnTo>
                <a:lnTo>
                  <a:pt x="3725686" y="2002984"/>
                </a:lnTo>
                <a:cubicBezTo>
                  <a:pt x="3712291" y="1971277"/>
                  <a:pt x="3704886" y="1936405"/>
                  <a:pt x="3704886" y="1899781"/>
                </a:cubicBezTo>
                <a:cubicBezTo>
                  <a:pt x="3704886" y="1753285"/>
                  <a:pt x="3823356" y="1634813"/>
                  <a:pt x="3969851" y="1634813"/>
                </a:cubicBezTo>
                <a:close/>
                <a:moveTo>
                  <a:pt x="7842360" y="1024629"/>
                </a:moveTo>
                <a:lnTo>
                  <a:pt x="8330359" y="1024629"/>
                </a:lnTo>
                <a:lnTo>
                  <a:pt x="8353182" y="1042565"/>
                </a:lnTo>
                <a:lnTo>
                  <a:pt x="8353182" y="1126539"/>
                </a:lnTo>
                <a:lnTo>
                  <a:pt x="7842360" y="1126539"/>
                </a:lnTo>
                <a:close/>
                <a:moveTo>
                  <a:pt x="5371048" y="1024629"/>
                </a:moveTo>
                <a:lnTo>
                  <a:pt x="5881870" y="1024629"/>
                </a:lnTo>
                <a:lnTo>
                  <a:pt x="5881870" y="1126539"/>
                </a:lnTo>
                <a:lnTo>
                  <a:pt x="5371048" y="1126539"/>
                </a:lnTo>
                <a:close/>
                <a:moveTo>
                  <a:pt x="4538001" y="1024629"/>
                </a:moveTo>
                <a:lnTo>
                  <a:pt x="5048825" y="1024629"/>
                </a:lnTo>
                <a:lnTo>
                  <a:pt x="5048825" y="1126539"/>
                </a:lnTo>
                <a:lnTo>
                  <a:pt x="4538001" y="1126539"/>
                </a:lnTo>
                <a:close/>
                <a:moveTo>
                  <a:pt x="2890886" y="1024629"/>
                </a:moveTo>
                <a:lnTo>
                  <a:pt x="3401709" y="1024629"/>
                </a:lnTo>
                <a:lnTo>
                  <a:pt x="3401709" y="1126539"/>
                </a:lnTo>
                <a:lnTo>
                  <a:pt x="2890886" y="1126539"/>
                </a:lnTo>
                <a:close/>
                <a:moveTo>
                  <a:pt x="6450017" y="912529"/>
                </a:moveTo>
                <a:cubicBezTo>
                  <a:pt x="6359572" y="912529"/>
                  <a:pt x="6286962" y="985139"/>
                  <a:pt x="6286962" y="1075585"/>
                </a:cubicBezTo>
                <a:cubicBezTo>
                  <a:pt x="6286962" y="1166029"/>
                  <a:pt x="6359572" y="1238639"/>
                  <a:pt x="6450017" y="1238639"/>
                </a:cubicBezTo>
                <a:cubicBezTo>
                  <a:pt x="6540463" y="1238639"/>
                  <a:pt x="6613073" y="1166029"/>
                  <a:pt x="6613073" y="1075585"/>
                </a:cubicBezTo>
                <a:cubicBezTo>
                  <a:pt x="6613073" y="985139"/>
                  <a:pt x="6540463" y="912529"/>
                  <a:pt x="6450017" y="912529"/>
                </a:cubicBezTo>
                <a:close/>
                <a:moveTo>
                  <a:pt x="2373692" y="828587"/>
                </a:moveTo>
                <a:lnTo>
                  <a:pt x="2373692" y="1331633"/>
                </a:lnTo>
                <a:lnTo>
                  <a:pt x="2271782" y="1331633"/>
                </a:lnTo>
                <a:lnTo>
                  <a:pt x="2271782" y="895706"/>
                </a:lnTo>
                <a:lnTo>
                  <a:pt x="2297278" y="877575"/>
                </a:lnTo>
                <a:close/>
                <a:moveTo>
                  <a:pt x="7223258" y="820809"/>
                </a:moveTo>
                <a:lnTo>
                  <a:pt x="7325168" y="820809"/>
                </a:lnTo>
                <a:lnTo>
                  <a:pt x="7325168" y="1331633"/>
                </a:lnTo>
                <a:lnTo>
                  <a:pt x="7223258" y="1331633"/>
                </a:lnTo>
                <a:close/>
                <a:moveTo>
                  <a:pt x="3918899" y="820809"/>
                </a:moveTo>
                <a:lnTo>
                  <a:pt x="4020808" y="820809"/>
                </a:lnTo>
                <a:lnTo>
                  <a:pt x="4020808" y="1331633"/>
                </a:lnTo>
                <a:lnTo>
                  <a:pt x="3918899" y="1331633"/>
                </a:lnTo>
                <a:close/>
                <a:moveTo>
                  <a:pt x="6451292" y="810617"/>
                </a:moveTo>
                <a:cubicBezTo>
                  <a:pt x="6597788" y="810617"/>
                  <a:pt x="6716257" y="929089"/>
                  <a:pt x="6716257" y="1075585"/>
                </a:cubicBezTo>
                <a:cubicBezTo>
                  <a:pt x="6716257" y="1222079"/>
                  <a:pt x="6597788" y="1340549"/>
                  <a:pt x="6451292" y="1340549"/>
                </a:cubicBezTo>
                <a:cubicBezTo>
                  <a:pt x="6303522" y="1340549"/>
                  <a:pt x="6186326" y="1222079"/>
                  <a:pt x="6186326" y="1075585"/>
                </a:cubicBezTo>
                <a:cubicBezTo>
                  <a:pt x="6186326" y="929089"/>
                  <a:pt x="6304797" y="810617"/>
                  <a:pt x="6451292" y="810617"/>
                </a:cubicBezTo>
                <a:close/>
                <a:moveTo>
                  <a:pt x="6399063" y="125503"/>
                </a:moveTo>
                <a:lnTo>
                  <a:pt x="6500973" y="149024"/>
                </a:lnTo>
                <a:lnTo>
                  <a:pt x="6500973" y="508711"/>
                </a:lnTo>
                <a:lnTo>
                  <a:pt x="6399063" y="508711"/>
                </a:lnTo>
                <a:close/>
                <a:moveTo>
                  <a:pt x="4743094" y="101073"/>
                </a:moveTo>
                <a:lnTo>
                  <a:pt x="4845004" y="101073"/>
                </a:lnTo>
                <a:lnTo>
                  <a:pt x="4845004" y="508711"/>
                </a:lnTo>
                <a:lnTo>
                  <a:pt x="4743094" y="508711"/>
                </a:lnTo>
                <a:close/>
                <a:moveTo>
                  <a:pt x="4174642" y="91020"/>
                </a:moveTo>
                <a:lnTo>
                  <a:pt x="4214021" y="149458"/>
                </a:lnTo>
                <a:cubicBezTo>
                  <a:pt x="4227416" y="181166"/>
                  <a:pt x="4234820" y="216038"/>
                  <a:pt x="4234820" y="252661"/>
                </a:cubicBezTo>
                <a:cubicBezTo>
                  <a:pt x="4234820" y="399157"/>
                  <a:pt x="4116350" y="517629"/>
                  <a:pt x="3969854" y="517629"/>
                </a:cubicBezTo>
                <a:cubicBezTo>
                  <a:pt x="3823359" y="517629"/>
                  <a:pt x="3704889" y="399157"/>
                  <a:pt x="3704889" y="252661"/>
                </a:cubicBezTo>
                <a:lnTo>
                  <a:pt x="3714113" y="206895"/>
                </a:lnTo>
                <a:lnTo>
                  <a:pt x="3829928" y="174007"/>
                </a:lnTo>
                <a:lnTo>
                  <a:pt x="3819737" y="189028"/>
                </a:lnTo>
                <a:cubicBezTo>
                  <a:pt x="3811417" y="208554"/>
                  <a:pt x="3806799" y="230050"/>
                  <a:pt x="3806799" y="252661"/>
                </a:cubicBezTo>
                <a:cubicBezTo>
                  <a:pt x="3806799" y="343107"/>
                  <a:pt x="3879410" y="415717"/>
                  <a:pt x="3969854" y="415717"/>
                </a:cubicBezTo>
                <a:cubicBezTo>
                  <a:pt x="4060300" y="415717"/>
                  <a:pt x="4132911" y="343107"/>
                  <a:pt x="4132911" y="252661"/>
                </a:cubicBezTo>
                <a:cubicBezTo>
                  <a:pt x="4132911" y="207439"/>
                  <a:pt x="4114759" y="166676"/>
                  <a:pt x="4085300" y="137218"/>
                </a:cubicBezTo>
                <a:lnTo>
                  <a:pt x="4056168" y="117622"/>
                </a:lnTo>
                <a:lnTo>
                  <a:pt x="4160436" y="93557"/>
                </a:lnTo>
                <a:close/>
                <a:moveTo>
                  <a:pt x="5625822" y="89607"/>
                </a:moveTo>
                <a:cubicBezTo>
                  <a:pt x="5535377" y="89607"/>
                  <a:pt x="5462766" y="162217"/>
                  <a:pt x="5462766" y="252661"/>
                </a:cubicBezTo>
                <a:cubicBezTo>
                  <a:pt x="5462766" y="343107"/>
                  <a:pt x="5535377" y="415717"/>
                  <a:pt x="5625822" y="415717"/>
                </a:cubicBezTo>
                <a:cubicBezTo>
                  <a:pt x="5716267" y="414445"/>
                  <a:pt x="5788878" y="341833"/>
                  <a:pt x="5788878" y="252661"/>
                </a:cubicBezTo>
                <a:cubicBezTo>
                  <a:pt x="5788878" y="162217"/>
                  <a:pt x="5716267" y="89607"/>
                  <a:pt x="5625822" y="89607"/>
                </a:cubicBezTo>
                <a:close/>
                <a:moveTo>
                  <a:pt x="5551305" y="0"/>
                </a:moveTo>
                <a:lnTo>
                  <a:pt x="5741268" y="14445"/>
                </a:lnTo>
                <a:lnTo>
                  <a:pt x="5775311" y="32907"/>
                </a:lnTo>
                <a:cubicBezTo>
                  <a:pt x="5845785" y="80491"/>
                  <a:pt x="5892062" y="161102"/>
                  <a:pt x="5892062" y="252661"/>
                </a:cubicBezTo>
                <a:cubicBezTo>
                  <a:pt x="5892062" y="399157"/>
                  <a:pt x="5773592" y="517629"/>
                  <a:pt x="5627096" y="517629"/>
                </a:cubicBezTo>
                <a:cubicBezTo>
                  <a:pt x="5480601" y="516353"/>
                  <a:pt x="5362131" y="397885"/>
                  <a:pt x="5362131" y="252661"/>
                </a:cubicBezTo>
                <a:cubicBezTo>
                  <a:pt x="5362131" y="142791"/>
                  <a:pt x="5428771" y="48684"/>
                  <a:pt x="5523893" y="849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50000"/>
                  <a:alpha val="15000"/>
                </a:schemeClr>
              </a:gs>
              <a:gs pos="0">
                <a:schemeClr val="accent1">
                  <a:lumMod val="50000"/>
                  <a:alpha val="0"/>
                </a:schemeClr>
              </a:gs>
            </a:gsLst>
            <a:lin ang="18900000" scaled="0"/>
          </a:gradFill>
          <a:ln w="1273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Circle: Hollow 429">
            <a:extLst>
              <a:ext uri="{FF2B5EF4-FFF2-40B4-BE49-F238E27FC236}">
                <a16:creationId xmlns:a16="http://schemas.microsoft.com/office/drawing/2014/main" id="{B077384B-E21D-4447-B01E-977229B6C737}"/>
              </a:ext>
            </a:extLst>
          </p:cNvPr>
          <p:cNvSpPr/>
          <p:nvPr userDrawn="1"/>
        </p:nvSpPr>
        <p:spPr>
          <a:xfrm flipV="1">
            <a:off x="-1489805" y="945142"/>
            <a:ext cx="7366730" cy="7366728"/>
          </a:xfrm>
          <a:prstGeom prst="donut">
            <a:avLst>
              <a:gd name="adj" fmla="val 25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A34C98-A857-4993-9B4A-7E97989E0AB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42808" y="370738"/>
            <a:ext cx="7480418" cy="7863840"/>
          </a:xfrm>
          <a:prstGeom prst="rect">
            <a:avLst/>
          </a:prstGeom>
          <a:effectLst>
            <a:outerShdw blurRad="2413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775149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A3E7D9-B718-4AFF-9113-2E8D87C0C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9A3E7D9-B718-4AFF-9113-2E8D87C0C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326B13-744E-40E6-B876-9381D128C34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lang="en-US" sz="3600" kern="120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4D9DFE-AD6F-7D42-B633-0143317A02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322964" y="3883548"/>
            <a:ext cx="1557435" cy="4180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628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F32A00-D894-474B-A69A-A676DE3C3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61282B-C496-6E4E-BCB5-280EEBECD6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1508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1D639D-15C4-5F4F-B6E5-21B42F48E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2845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3268985-B9BE-EF45-AFE8-A78C74B1AE59}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35F5B72-6F29-0C4D-BBF5-98CCE15E4A29}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1 Cotiviti, Inc. All rights reserved. All proprietary information shall remain the sole and exclusive property of Cotiviti, Inc.</a:t>
            </a:r>
            <a:endParaRPr lang="en-US" sz="100" kern="120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A555C0C-ABCF-544B-944B-98EEDCA98C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91455" y="6350141"/>
            <a:ext cx="1625600" cy="6223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62418F-B0E9-C341-981F-3B384991C4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BC4577-6BA0-554B-BB9E-09A96DA47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2363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E361E0-E5A5-4768-950B-A9901CB8EB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64485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E361E0-E5A5-4768-950B-A9901CB8EB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6B68A84-1147-4999-984F-3DF6D094FF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5974" y="2176931"/>
            <a:ext cx="9185679" cy="1097280"/>
          </a:xfrm>
        </p:spPr>
        <p:txBody>
          <a:bodyPr anchor="b">
            <a:noAutofit/>
          </a:bodyPr>
          <a:lstStyle>
            <a:lvl1pPr>
              <a:defRPr lang="en-US" sz="3600" kern="1200" noProof="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5974" y="3425318"/>
            <a:ext cx="9185679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02A3BC-B4F1-2341-A8FD-1BDB1C600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460387" y="4017527"/>
            <a:ext cx="1234935" cy="4228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120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1C1C3D-4D7B-4A32-A4C1-7D171B059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812112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1C1C3D-4D7B-4A32-A4C1-7D171B059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76F69E0-5C07-42EE-A585-1B03DEB699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6A97D-F12B-CF42-9AFE-22FA687291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BCFD75-118F-B74E-A7AD-948EF5D167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68" b="6638"/>
          <a:stretch/>
        </p:blipFill>
        <p:spPr>
          <a:xfrm rot="5400000">
            <a:off x="9460387" y="4017527"/>
            <a:ext cx="1234935" cy="42282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5973" y="2180645"/>
            <a:ext cx="9299448" cy="1097280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5973" y="3425318"/>
            <a:ext cx="9299448" cy="914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728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7141EA-7C97-4D14-802B-FE34264A6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518357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7141EA-7C97-4D14-802B-FE34264A6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E9EC2A-F502-4BE5-B7C0-31991BE7B4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1396473"/>
            <a:ext cx="11277600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5"/>
            <a:ext cx="11277600" cy="914400"/>
          </a:xfrm>
        </p:spPr>
        <p:txBody>
          <a:bodyPr anchor="ctr"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14975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79776C-F4FC-4184-B091-6D5007B874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612316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79776C-F4FC-4184-B091-6D5007B87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CB682C-07AF-4F3B-8D74-8FFF238C8B2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1396473"/>
            <a:ext cx="5540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6193973" y="1396473"/>
            <a:ext cx="5540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0293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26F32F-067E-4565-A390-2302EDFBE7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84147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26F32F-067E-4565-A390-2302EDFBE7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2E23948-7695-490B-BA33-BA00CDC8EC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1396473"/>
            <a:ext cx="3635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278086" y="1396473"/>
            <a:ext cx="3635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8098973" y="1396473"/>
            <a:ext cx="3635828" cy="4780491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958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3318E7-57B1-4A0E-8E32-8C5B0D59BA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98709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3318E7-57B1-4A0E-8E32-8C5B0D59BA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1F0AB5F-3FE4-40D7-B6BE-7BEE0CAA8BD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4596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69CD14D-55A8-8F4D-AFCE-25FBF659882A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810585-BC77-214B-835B-5FBC51AD75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5080C593-1AFE-A64E-AE89-A4E331355FEA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1D744F2-8D99-D74F-9856-373EBF3C194C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0" name="Circle: Hollow 14">
              <a:extLst>
                <a:ext uri="{FF2B5EF4-FFF2-40B4-BE49-F238E27FC236}">
                  <a16:creationId xmlns:a16="http://schemas.microsoft.com/office/drawing/2014/main" id="{C4F114B3-615E-4046-94B0-1C8D183210BB}"/>
                </a:ext>
              </a:extLst>
            </p:cNvPr>
            <p:cNvSpPr/>
            <p:nvPr userDrawn="1"/>
          </p:nvSpPr>
          <p:spPr>
            <a:xfrm flipH="1">
              <a:off x="5755944" y="448088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5B89091-484F-DF49-ADD2-7611D982EE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325"/>
            <a:stretch/>
          </p:blipFill>
          <p:spPr>
            <a:xfrm>
              <a:off x="6595177" y="1070630"/>
              <a:ext cx="4237151" cy="4447022"/>
            </a:xfrm>
            <a:prstGeom prst="rect">
              <a:avLst/>
            </a:prstGeom>
            <a:effectLst/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5AAF10C-D448-F04A-809B-19E9BF32EE66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93929B1-BAFF-7148-8835-F53F60C9D9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30149E-5344-054F-8CC2-B1A4D495CA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57559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2427058-8064-694F-9704-D7EC0B4EF26B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D18C31-035E-904A-AEE7-F7CE1F3B1D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" y="6301533"/>
            <a:ext cx="1793661" cy="2168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A2A472BF-1B55-6E4F-B865-55E35834BF2C}"/>
              </a:ext>
            </a:extLst>
          </p:cNvPr>
          <p:cNvGrpSpPr/>
          <p:nvPr userDrawn="1"/>
        </p:nvGrpSpPr>
        <p:grpSpPr>
          <a:xfrm>
            <a:off x="5613052" y="295276"/>
            <a:ext cx="6267488" cy="6267452"/>
            <a:chOff x="5613052" y="295276"/>
            <a:chExt cx="6267488" cy="6267452"/>
          </a:xfrm>
          <a:effectLst/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D1F8D3F-0C0D-C546-9CA1-CD0665D58720}"/>
                </a:ext>
              </a:extLst>
            </p:cNvPr>
            <p:cNvSpPr/>
            <p:nvPr userDrawn="1"/>
          </p:nvSpPr>
          <p:spPr>
            <a:xfrm>
              <a:off x="5613052" y="295276"/>
              <a:ext cx="6267488" cy="62674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0" name="Circle: Hollow 14">
              <a:extLst>
                <a:ext uri="{FF2B5EF4-FFF2-40B4-BE49-F238E27FC236}">
                  <a16:creationId xmlns:a16="http://schemas.microsoft.com/office/drawing/2014/main" id="{9E33D5D1-11B3-0640-833C-9B0AFE7F186D}"/>
                </a:ext>
              </a:extLst>
            </p:cNvPr>
            <p:cNvSpPr/>
            <p:nvPr userDrawn="1"/>
          </p:nvSpPr>
          <p:spPr>
            <a:xfrm flipH="1">
              <a:off x="5755944" y="438149"/>
              <a:ext cx="5981704" cy="5981702"/>
            </a:xfrm>
            <a:prstGeom prst="donut">
              <a:avLst>
                <a:gd name="adj" fmla="val 1642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>
                <a:solidFill>
                  <a:schemeClr val="bg1"/>
                </a:solidFill>
              </a:endParaRPr>
            </a:p>
          </p:txBody>
        </p:sp>
        <p:pic>
          <p:nvPicPr>
            <p:cNvPr id="11" name="Picture 10" descr="A person sitting at a table&#10;&#10;Description automatically generated">
              <a:extLst>
                <a:ext uri="{FF2B5EF4-FFF2-40B4-BE49-F238E27FC236}">
                  <a16:creationId xmlns:a16="http://schemas.microsoft.com/office/drawing/2014/main" id="{F84E8DAD-3D78-F642-8E9E-2048BE0EB05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763870" y="833718"/>
              <a:ext cx="3994616" cy="4601882"/>
            </a:xfrm>
            <a:prstGeom prst="rect">
              <a:avLst/>
            </a:prstGeom>
            <a:effectLst/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1A1CB06F-1E73-BE43-B37B-3F9B43DE8389}"/>
              </a:ext>
            </a:extLst>
          </p:cNvPr>
          <p:cNvSpPr/>
          <p:nvPr userDrawn="1"/>
        </p:nvSpPr>
        <p:spPr>
          <a:xfrm>
            <a:off x="336550" y="2619179"/>
            <a:ext cx="58844" cy="1619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6B1004D-B64D-5D40-B505-29C33AE936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481" y="2176931"/>
            <a:ext cx="5205829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AC344CE-FF5E-AD4F-8AEB-37F3AF2B95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481" y="3425318"/>
            <a:ext cx="5205829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7022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E4E311-46EF-47A9-80CC-1BF05141CE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6080572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306" imgH="306" progId="TCLayout.ActiveDocument.1">
                  <p:embed/>
                </p:oleObj>
              </mc:Choice>
              <mc:Fallback>
                <p:oleObj name="think-cell Slide" r:id="rId2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E4E311-46EF-47A9-80CC-1BF05141CE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484F8B3-0BD0-478F-B0AA-AC79F83A6301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B3B38B-BBAD-CB4F-B082-D6F36EBDF90A}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F1B53D-38F5-0E4D-9B1B-7F47F0BA2565}"/>
              </a:ext>
            </a:extLst>
          </p:cNvPr>
          <p:cNvSpPr txBox="1"/>
          <p:nvPr userDrawn="1"/>
        </p:nvSpPr>
        <p:spPr>
          <a:xfrm>
            <a:off x="3439743" y="6554791"/>
            <a:ext cx="573105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1 Cotiviti, Inc. All rights reserved. All proprietary information shall remain the sole and exclusive property of </a:t>
            </a:r>
            <a:r>
              <a:rPr lang="en-US" sz="700" b="0" i="0" kern="1200" err="1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Cotiviti</a:t>
            </a:r>
            <a:r>
              <a:rPr lang="en-US" sz="700" b="0" i="0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, Inc.</a:t>
            </a:r>
            <a:endParaRPr lang="en-US" sz="100" kern="120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65125"/>
            <a:ext cx="11277600" cy="914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95167"/>
            <a:ext cx="11277600" cy="478179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noProof="0"/>
              <a:t>Level 1</a:t>
            </a:r>
          </a:p>
          <a:p>
            <a:pPr lvl="1"/>
            <a:r>
              <a:rPr lang="en-US" noProof="0"/>
              <a:t>Bullet 2</a:t>
            </a:r>
          </a:p>
          <a:p>
            <a:pPr lvl="2"/>
            <a:r>
              <a:rPr lang="en-US" noProof="0"/>
              <a:t>Bullet 3</a:t>
            </a:r>
          </a:p>
          <a:p>
            <a:pPr lvl="3"/>
            <a:r>
              <a:rPr lang="en-US" noProof="0"/>
              <a:t>Bullet 4</a:t>
            </a:r>
          </a:p>
          <a:p>
            <a:pPr lvl="4"/>
            <a:r>
              <a:rPr lang="en-US" noProof="0"/>
              <a:t>Bullet 5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49892" y="6517079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2F099C-789D-1C4C-A8AC-4D5AC7942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91455" y="6350141"/>
            <a:ext cx="1625600" cy="62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49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07" r:id="rId2"/>
    <p:sldLayoutId id="2147483706" r:id="rId3"/>
    <p:sldLayoutId id="2147483675" r:id="rId4"/>
    <p:sldLayoutId id="2147483679" r:id="rId5"/>
    <p:sldLayoutId id="214748368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2"/>
        </a:buClr>
        <a:buSzPct val="90000"/>
        <a:buFont typeface="Arial" panose="020B0604020202020204" pitchFamily="34" charset="0"/>
        <a:buNone/>
        <a:defRPr sz="1600" b="0" kern="120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233363" indent="-231775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17525" indent="-255588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81000"/>
        <a:buFont typeface="Courier New" panose="02070309020205020404" pitchFamily="49" charset="0"/>
        <a:buChar char="o"/>
        <a:tabLst>
          <a:tab pos="51752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41363" indent="-190500" algn="l" defTabSz="685800" rtl="0" eaLnBrk="1" latinLnBrk="0" hangingPunct="1">
        <a:lnSpc>
          <a:spcPct val="100000"/>
        </a:lnSpc>
        <a:spcBef>
          <a:spcPts val="100"/>
        </a:spcBef>
        <a:spcAft>
          <a:spcPts val="400"/>
        </a:spcAft>
        <a:buClr>
          <a:schemeClr val="accent3"/>
        </a:buClr>
        <a:buSzPct val="75000"/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600"/>
        </a:spcBef>
        <a:spcAft>
          <a:spcPts val="400"/>
        </a:spcAft>
        <a:buClr>
          <a:schemeClr val="accent2"/>
        </a:buClr>
        <a:buSzPct val="70000"/>
        <a:buFont typeface="Arial"/>
        <a:buNone/>
        <a:defRPr sz="1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14249-2272-439E-95AB-BBAE1D8F38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500" y="2295729"/>
            <a:ext cx="6959458" cy="1133272"/>
          </a:xfrm>
        </p:spPr>
        <p:txBody>
          <a:bodyPr/>
          <a:lstStyle/>
          <a:p>
            <a:r>
              <a:rPr lang="en-US" dirty="0"/>
              <a:t>Solution and Architecture Summaries | </a:t>
            </a:r>
            <a:r>
              <a:rPr lang="en-US" b="1" dirty="0"/>
              <a:t>Workflow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9F64869-0022-4D60-B537-CA94860FA3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5372105"/>
            <a:ext cx="6959458" cy="508228"/>
          </a:xfrm>
        </p:spPr>
        <p:txBody>
          <a:bodyPr/>
          <a:lstStyle/>
          <a:p>
            <a:r>
              <a:rPr lang="en-US" dirty="0"/>
              <a:t>C. Beasley – Draft Docs</a:t>
            </a:r>
          </a:p>
          <a:p>
            <a:r>
              <a:rPr lang="en-US" sz="1200" dirty="0"/>
              <a:t>August 25, 2021</a:t>
            </a:r>
          </a:p>
        </p:txBody>
      </p:sp>
    </p:spTree>
    <p:extLst>
      <p:ext uri="{BB962C8B-B14F-4D97-AF65-F5344CB8AC3E}">
        <p14:creationId xmlns:p14="http://schemas.microsoft.com/office/powerpoint/2010/main" val="12899829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3EB61A-5F4E-E647-8A98-B1E0026D2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2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F8B6253-EFE3-D54F-9E84-F8A496EF0704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3200" dirty="0"/>
              <a:t>Overvie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4294BE0-A94A-5C4A-A968-EC6D190A1DD0}"/>
              </a:ext>
            </a:extLst>
          </p:cNvPr>
          <p:cNvSpPr txBox="1"/>
          <p:nvPr/>
        </p:nvSpPr>
        <p:spPr>
          <a:xfrm>
            <a:off x="1170432" y="1993129"/>
            <a:ext cx="4669536" cy="4876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6">
                    <a:lumMod val="25000"/>
                  </a:schemeClr>
                </a:solidFill>
              </a:rPr>
              <a:t>Please save your work as;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3F0E65-1031-5840-B0A0-A72F3E3C7F04}"/>
              </a:ext>
            </a:extLst>
          </p:cNvPr>
          <p:cNvSpPr txBox="1"/>
          <p:nvPr/>
        </p:nvSpPr>
        <p:spPr>
          <a:xfrm>
            <a:off x="1170432" y="1505449"/>
            <a:ext cx="4669536" cy="4876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Slide Templates Instructions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E9FE0F-6BE0-0047-BA51-0F8001958525}"/>
              </a:ext>
            </a:extLst>
          </p:cNvPr>
          <p:cNvSpPr txBox="1"/>
          <p:nvPr/>
        </p:nvSpPr>
        <p:spPr>
          <a:xfrm>
            <a:off x="1170432" y="2437064"/>
            <a:ext cx="8924745" cy="3005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Solution Architecture Summary_Workflow</a:t>
            </a:r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_Team_Name_v1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AA8F3E4-347C-7642-875D-397A63D86669}"/>
              </a:ext>
            </a:extLst>
          </p:cNvPr>
          <p:cNvGrpSpPr/>
          <p:nvPr/>
        </p:nvGrpSpPr>
        <p:grpSpPr>
          <a:xfrm>
            <a:off x="6035598" y="1091612"/>
            <a:ext cx="2669118" cy="1275059"/>
            <a:chOff x="6486171" y="1780723"/>
            <a:chExt cx="2669118" cy="1275059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4AFB027-E846-E64B-A915-C88B5C5A22C2}"/>
                </a:ext>
              </a:extLst>
            </p:cNvPr>
            <p:cNvSpPr txBox="1"/>
            <p:nvPr/>
          </p:nvSpPr>
          <p:spPr>
            <a:xfrm>
              <a:off x="6486171" y="1780723"/>
              <a:ext cx="2669118" cy="51294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2">
                      <a:lumMod val="50000"/>
                    </a:schemeClr>
                  </a:solidFill>
                </a:rPr>
                <a:t>Your Name</a:t>
              </a:r>
            </a:p>
            <a:p>
              <a:pPr algn="ctr"/>
              <a:r>
                <a:rPr lang="en-US" sz="1200" dirty="0">
                  <a:solidFill>
                    <a:schemeClr val="bg2">
                      <a:lumMod val="50000"/>
                    </a:schemeClr>
                  </a:solidFill>
                </a:rPr>
                <a:t>(For reference if additional information is needed)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4B54744D-8ABE-D24C-911F-A43FFDC3DDA9}"/>
                </a:ext>
              </a:extLst>
            </p:cNvPr>
            <p:cNvCxnSpPr/>
            <p:nvPr/>
          </p:nvCxnSpPr>
          <p:spPr>
            <a:xfrm>
              <a:off x="7845778" y="2438400"/>
              <a:ext cx="0" cy="617382"/>
            </a:xfrm>
            <a:prstGeom prst="line">
              <a:avLst/>
            </a:prstGeom>
            <a:ln w="127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56A309D-BDBA-3941-B41C-39A8CCEEADE1}"/>
              </a:ext>
            </a:extLst>
          </p:cNvPr>
          <p:cNvGrpSpPr/>
          <p:nvPr/>
        </p:nvGrpSpPr>
        <p:grpSpPr>
          <a:xfrm>
            <a:off x="5888104" y="2750883"/>
            <a:ext cx="1388533" cy="806591"/>
            <a:chOff x="6153148" y="3426742"/>
            <a:chExt cx="1388533" cy="806591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C854D17-73C5-0040-9D36-F56B0AC378E1}"/>
                </a:ext>
              </a:extLst>
            </p:cNvPr>
            <p:cNvSpPr txBox="1"/>
            <p:nvPr/>
          </p:nvSpPr>
          <p:spPr>
            <a:xfrm>
              <a:off x="6153148" y="3720393"/>
              <a:ext cx="1388533" cy="51294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2">
                      <a:lumMod val="50000"/>
                    </a:schemeClr>
                  </a:solidFill>
                </a:rPr>
                <a:t>Your Team Name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6603ECB-B498-6A45-A6A3-357064D6BD50}"/>
                </a:ext>
              </a:extLst>
            </p:cNvPr>
            <p:cNvCxnSpPr>
              <a:cxnSpLocks/>
            </p:cNvCxnSpPr>
            <p:nvPr/>
          </p:nvCxnSpPr>
          <p:spPr>
            <a:xfrm>
              <a:off x="6847414" y="3426742"/>
              <a:ext cx="1" cy="293651"/>
            </a:xfrm>
            <a:prstGeom prst="line">
              <a:avLst/>
            </a:prstGeom>
            <a:ln w="127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AF5AEFF-C83C-4C4B-AB43-3C7611633E14}"/>
              </a:ext>
            </a:extLst>
          </p:cNvPr>
          <p:cNvGrpSpPr/>
          <p:nvPr/>
        </p:nvGrpSpPr>
        <p:grpSpPr>
          <a:xfrm>
            <a:off x="7276640" y="2737631"/>
            <a:ext cx="1388533" cy="1329223"/>
            <a:chOff x="7541681" y="3426742"/>
            <a:chExt cx="1388533" cy="132922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C1B04B4-1614-0B45-9941-2E3F69CAD421}"/>
                </a:ext>
              </a:extLst>
            </p:cNvPr>
            <p:cNvSpPr txBox="1"/>
            <p:nvPr/>
          </p:nvSpPr>
          <p:spPr>
            <a:xfrm>
              <a:off x="7541681" y="4243025"/>
              <a:ext cx="1388533" cy="51294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bg2">
                      <a:lumMod val="50000"/>
                    </a:schemeClr>
                  </a:solidFill>
                </a:rPr>
                <a:t>Version #</a:t>
              </a:r>
              <a:r>
                <a:rPr lang="en-US" sz="1400" dirty="0">
                  <a:solidFill>
                    <a:schemeClr val="bg2">
                      <a:lumMod val="50000"/>
                    </a:schemeClr>
                  </a:solidFill>
                </a:rPr>
                <a:t> </a:t>
              </a:r>
            </a:p>
            <a:p>
              <a:pPr algn="ctr"/>
              <a:r>
                <a:rPr lang="en-US" sz="1200" dirty="0">
                  <a:solidFill>
                    <a:schemeClr val="bg2">
                      <a:lumMod val="50000"/>
                    </a:schemeClr>
                  </a:solidFill>
                </a:rPr>
                <a:t>(to determine which iteration is most recent)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49AC08C-7DE3-BA42-A9B4-4F7AA0CD40DD}"/>
                </a:ext>
              </a:extLst>
            </p:cNvPr>
            <p:cNvCxnSpPr>
              <a:endCxn id="9" idx="0"/>
            </p:cNvCxnSpPr>
            <p:nvPr/>
          </p:nvCxnSpPr>
          <p:spPr>
            <a:xfrm>
              <a:off x="8235947" y="3426742"/>
              <a:ext cx="1" cy="816283"/>
            </a:xfrm>
            <a:prstGeom prst="line">
              <a:avLst/>
            </a:prstGeom>
            <a:ln w="127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E6390D37-4627-1540-A54A-C43363F9591E}"/>
              </a:ext>
            </a:extLst>
          </p:cNvPr>
          <p:cNvSpPr txBox="1"/>
          <p:nvPr/>
        </p:nvSpPr>
        <p:spPr>
          <a:xfrm>
            <a:off x="1170432" y="4820737"/>
            <a:ext cx="10079460" cy="75669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6">
                    <a:lumMod val="25000"/>
                  </a:schemeClr>
                </a:solidFill>
              </a:rPr>
              <a:t>Once completed, please upload your work to Cotiviti ERS SharePoint, </a:t>
            </a:r>
            <a:r>
              <a:rPr lang="en-US" b="1" dirty="0" err="1">
                <a:solidFill>
                  <a:schemeClr val="accent6">
                    <a:lumMod val="25000"/>
                  </a:schemeClr>
                </a:solidFill>
              </a:rPr>
              <a:t>SharePoint.com</a:t>
            </a:r>
            <a:r>
              <a:rPr lang="en-US" b="1" dirty="0">
                <a:solidFill>
                  <a:schemeClr val="accent6">
                    <a:lumMod val="25000"/>
                  </a:schemeClr>
                </a:solidFill>
              </a:rPr>
              <a:t>/Cotiviti/ERS </a:t>
            </a:r>
            <a:r>
              <a:rPr lang="en-US" dirty="0">
                <a:solidFill>
                  <a:schemeClr val="accent6">
                    <a:lumMod val="25000"/>
                  </a:schemeClr>
                </a:solidFill>
              </a:rPr>
              <a:t>into the prospective Team Folder. </a:t>
            </a:r>
            <a:endParaRPr lang="en-US" b="1" dirty="0">
              <a:solidFill>
                <a:schemeClr val="accent6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4256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B45AFC6-00E7-334B-9FCA-64A8617E47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3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FB02E13-93B4-FD47-B3B4-2216B21775C2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Template – </a:t>
            </a:r>
            <a:r>
              <a:rPr lang="en-US" b="1" dirty="0"/>
              <a:t>Colors &amp; Fon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8B4BFD-E60F-3B47-8167-C3B897EFF8A8}"/>
              </a:ext>
            </a:extLst>
          </p:cNvPr>
          <p:cNvSpPr txBox="1"/>
          <p:nvPr/>
        </p:nvSpPr>
        <p:spPr>
          <a:xfrm>
            <a:off x="593667" y="2291974"/>
            <a:ext cx="5226755" cy="38382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dirty="0">
                <a:solidFill>
                  <a:schemeClr val="accent6">
                    <a:lumMod val="25000"/>
                  </a:schemeClr>
                </a:solidFill>
              </a:rPr>
              <a:t>Montserrat – </a:t>
            </a:r>
            <a:r>
              <a:rPr lang="en-US" dirty="0">
                <a:solidFill>
                  <a:schemeClr val="accent6">
                    <a:lumMod val="25000"/>
                  </a:schemeClr>
                </a:solidFill>
                <a:latin typeface="Montserrat Light" pitchFamily="2" charset="77"/>
              </a:rPr>
              <a:t>Light</a:t>
            </a:r>
            <a:r>
              <a:rPr lang="en-US" dirty="0">
                <a:solidFill>
                  <a:schemeClr val="accent6">
                    <a:lumMod val="25000"/>
                  </a:schemeClr>
                </a:solidFill>
              </a:rPr>
              <a:t> to </a:t>
            </a:r>
            <a:r>
              <a:rPr lang="en-US" b="1" dirty="0">
                <a:solidFill>
                  <a:schemeClr val="accent6">
                    <a:lumMod val="25000"/>
                  </a:schemeClr>
                </a:solidFill>
                <a:latin typeface="Montserrat" pitchFamily="2" charset="77"/>
              </a:rPr>
              <a:t>Bold </a:t>
            </a:r>
            <a:r>
              <a:rPr lang="en-US" dirty="0">
                <a:solidFill>
                  <a:schemeClr val="accent6">
                    <a:lumMod val="25000"/>
                  </a:schemeClr>
                </a:solidFill>
                <a:latin typeface="Montserrat" pitchFamily="2" charset="77"/>
              </a:rPr>
              <a:t>variations</a:t>
            </a:r>
            <a:endParaRPr lang="en-US" b="1" dirty="0">
              <a:solidFill>
                <a:schemeClr val="accent6">
                  <a:lumMod val="25000"/>
                </a:schemeClr>
              </a:solidFill>
              <a:latin typeface="Montserrat SemiBold" pitchFamily="2" charset="77"/>
            </a:endParaRPr>
          </a:p>
          <a:p>
            <a:endParaRPr lang="en-US" dirty="0">
              <a:solidFill>
                <a:schemeClr val="accent6">
                  <a:lumMod val="25000"/>
                </a:schemeClr>
              </a:solidFill>
              <a:latin typeface="Montserrat" pitchFamily="2" charset="7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A5BA07-1980-5D49-BF69-A47C81921CA0}"/>
              </a:ext>
            </a:extLst>
          </p:cNvPr>
          <p:cNvSpPr txBox="1"/>
          <p:nvPr/>
        </p:nvSpPr>
        <p:spPr>
          <a:xfrm>
            <a:off x="2163329" y="4543402"/>
            <a:ext cx="2140246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25000"/>
                  </a:schemeClr>
                </a:solidFill>
              </a:rPr>
              <a:t>Hea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DCBECE-E6EF-7741-AC5C-E415DB917DCA}"/>
              </a:ext>
            </a:extLst>
          </p:cNvPr>
          <p:cNvSpPr txBox="1"/>
          <p:nvPr/>
        </p:nvSpPr>
        <p:spPr>
          <a:xfrm>
            <a:off x="2163329" y="4955522"/>
            <a:ext cx="2140246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100" dirty="0">
                <a:solidFill>
                  <a:schemeClr val="bg2">
                    <a:lumMod val="50000"/>
                  </a:schemeClr>
                </a:solidFill>
              </a:rPr>
              <a:t>Sub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2081E6-1299-E24F-AC69-CA07D39A9A38}"/>
              </a:ext>
            </a:extLst>
          </p:cNvPr>
          <p:cNvSpPr txBox="1"/>
          <p:nvPr/>
        </p:nvSpPr>
        <p:spPr>
          <a:xfrm>
            <a:off x="2163329" y="4131282"/>
            <a:ext cx="2140246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accent6">
                    <a:lumMod val="25000"/>
                  </a:schemeClr>
                </a:solidFill>
              </a:rPr>
              <a:t>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2DB12A5-A68E-7541-83AB-428320635AF4}"/>
              </a:ext>
            </a:extLst>
          </p:cNvPr>
          <p:cNvSpPr txBox="1"/>
          <p:nvPr/>
        </p:nvSpPr>
        <p:spPr>
          <a:xfrm>
            <a:off x="2163329" y="5290633"/>
            <a:ext cx="2140246" cy="88229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bg2">
                    <a:lumMod val="50000"/>
                  </a:schemeClr>
                </a:solidFill>
              </a:rPr>
              <a:t>Description Box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85BE266-1C2C-4241-924E-D1D16181E420}"/>
              </a:ext>
            </a:extLst>
          </p:cNvPr>
          <p:cNvGrpSpPr/>
          <p:nvPr/>
        </p:nvGrpSpPr>
        <p:grpSpPr>
          <a:xfrm>
            <a:off x="6173062" y="893910"/>
            <a:ext cx="3138311" cy="1756229"/>
            <a:chOff x="6228437" y="1002915"/>
            <a:chExt cx="3138311" cy="175622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D6F5147-CBEB-2540-B13F-E8E3A0AB1E5E}"/>
                </a:ext>
              </a:extLst>
            </p:cNvPr>
            <p:cNvSpPr/>
            <p:nvPr/>
          </p:nvSpPr>
          <p:spPr>
            <a:xfrm>
              <a:off x="6366158" y="1471727"/>
              <a:ext cx="304800" cy="304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D6E200F-6911-8149-8DF5-541249BAE966}"/>
                </a:ext>
              </a:extLst>
            </p:cNvPr>
            <p:cNvSpPr/>
            <p:nvPr/>
          </p:nvSpPr>
          <p:spPr>
            <a:xfrm>
              <a:off x="6366158" y="1954733"/>
              <a:ext cx="304800" cy="3048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6868F10-01B0-E24C-B21D-5B9BF3D11BF3}"/>
                </a:ext>
              </a:extLst>
            </p:cNvPr>
            <p:cNvSpPr/>
            <p:nvPr/>
          </p:nvSpPr>
          <p:spPr>
            <a:xfrm>
              <a:off x="6366158" y="2454344"/>
              <a:ext cx="304800" cy="3048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E3B62C3-96D2-5345-893B-816CB4929C88}"/>
                </a:ext>
              </a:extLst>
            </p:cNvPr>
            <p:cNvSpPr/>
            <p:nvPr/>
          </p:nvSpPr>
          <p:spPr>
            <a:xfrm>
              <a:off x="7854963" y="1471727"/>
              <a:ext cx="304800" cy="3048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9D8F27F-7268-B14D-AE70-FE11EAF75A33}"/>
                </a:ext>
              </a:extLst>
            </p:cNvPr>
            <p:cNvSpPr/>
            <p:nvPr/>
          </p:nvSpPr>
          <p:spPr>
            <a:xfrm>
              <a:off x="7859197" y="1954733"/>
              <a:ext cx="304800" cy="3048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6B979FC-51DA-5540-BEC4-BC25DD0FC1F1}"/>
                </a:ext>
              </a:extLst>
            </p:cNvPr>
            <p:cNvSpPr/>
            <p:nvPr/>
          </p:nvSpPr>
          <p:spPr>
            <a:xfrm>
              <a:off x="7863431" y="2454344"/>
              <a:ext cx="304800" cy="3048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36796CC-29C7-4D42-8BC3-41AE1C816CE4}"/>
                </a:ext>
              </a:extLst>
            </p:cNvPr>
            <p:cNvSpPr txBox="1"/>
            <p:nvPr/>
          </p:nvSpPr>
          <p:spPr>
            <a:xfrm>
              <a:off x="6670957" y="1471727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 dirty="0"/>
                <a:t>Purple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F957119-65E3-C741-8F48-3ED821EF4D32}"/>
                </a:ext>
              </a:extLst>
            </p:cNvPr>
            <p:cNvSpPr txBox="1"/>
            <p:nvPr/>
          </p:nvSpPr>
          <p:spPr>
            <a:xfrm>
              <a:off x="6670957" y="1954733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 dirty="0"/>
                <a:t>Magenta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7ADA69B-8974-6843-A689-9B1734A8BCE1}"/>
                </a:ext>
              </a:extLst>
            </p:cNvPr>
            <p:cNvSpPr txBox="1"/>
            <p:nvPr/>
          </p:nvSpPr>
          <p:spPr>
            <a:xfrm>
              <a:off x="8179521" y="2454344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 dirty="0"/>
                <a:t>Lavender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56924F8B-9DFA-9642-B68B-B27DA369B340}"/>
                </a:ext>
              </a:extLst>
            </p:cNvPr>
            <p:cNvSpPr txBox="1"/>
            <p:nvPr/>
          </p:nvSpPr>
          <p:spPr>
            <a:xfrm>
              <a:off x="8179521" y="1471727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 dirty="0"/>
                <a:t>Lilac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8F3C78E-2F1F-C84F-A53C-5A9D602224D8}"/>
                </a:ext>
              </a:extLst>
            </p:cNvPr>
            <p:cNvSpPr txBox="1"/>
            <p:nvPr/>
          </p:nvSpPr>
          <p:spPr>
            <a:xfrm>
              <a:off x="8179520" y="1954733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 dirty="0"/>
                <a:t>Rose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BBB73F4-DE0B-1E40-808E-867586C7AD90}"/>
                </a:ext>
              </a:extLst>
            </p:cNvPr>
            <p:cNvSpPr txBox="1"/>
            <p:nvPr/>
          </p:nvSpPr>
          <p:spPr>
            <a:xfrm>
              <a:off x="6670957" y="2454344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 dirty="0"/>
                <a:t>M. Violet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A8FF994-2E16-0547-86F5-476A8C844D84}"/>
                </a:ext>
              </a:extLst>
            </p:cNvPr>
            <p:cNvSpPr txBox="1"/>
            <p:nvPr/>
          </p:nvSpPr>
          <p:spPr>
            <a:xfrm>
              <a:off x="6228437" y="1002915"/>
              <a:ext cx="3138311" cy="38386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b="1" dirty="0">
                  <a:solidFill>
                    <a:schemeClr val="accent1"/>
                  </a:solidFill>
                </a:rPr>
                <a:t>Primary Focus Colors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ECA57714-B488-0D40-9E40-026A9FEC5824}"/>
              </a:ext>
            </a:extLst>
          </p:cNvPr>
          <p:cNvGrpSpPr/>
          <p:nvPr/>
        </p:nvGrpSpPr>
        <p:grpSpPr>
          <a:xfrm>
            <a:off x="9195406" y="4969270"/>
            <a:ext cx="3138311" cy="1340263"/>
            <a:chOff x="6277941" y="4994025"/>
            <a:chExt cx="3138311" cy="134026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EBF2F177-A4F6-0041-B366-6A3D171BEC48}"/>
                </a:ext>
              </a:extLst>
            </p:cNvPr>
            <p:cNvSpPr/>
            <p:nvPr/>
          </p:nvSpPr>
          <p:spPr>
            <a:xfrm>
              <a:off x="7847097" y="5413252"/>
              <a:ext cx="304800" cy="30480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A19047FD-6FEF-7E45-994D-F3A080FB89F4}"/>
                </a:ext>
              </a:extLst>
            </p:cNvPr>
            <p:cNvSpPr/>
            <p:nvPr/>
          </p:nvSpPr>
          <p:spPr>
            <a:xfrm>
              <a:off x="6366158" y="5958180"/>
              <a:ext cx="304800" cy="304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D6CAEC1-1E84-8D48-8F7E-80E20DC87208}"/>
                </a:ext>
              </a:extLst>
            </p:cNvPr>
            <p:cNvSpPr/>
            <p:nvPr/>
          </p:nvSpPr>
          <p:spPr>
            <a:xfrm>
              <a:off x="6366158" y="5413252"/>
              <a:ext cx="304800" cy="304800"/>
            </a:xfrm>
            <a:prstGeom prst="rect">
              <a:avLst/>
            </a:prstGeom>
            <a:solidFill>
              <a:schemeClr val="accent6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4D4529D2-01AB-1445-99F4-CDF9DE1C5ECC}"/>
                </a:ext>
              </a:extLst>
            </p:cNvPr>
            <p:cNvSpPr txBox="1"/>
            <p:nvPr/>
          </p:nvSpPr>
          <p:spPr>
            <a:xfrm>
              <a:off x="6277941" y="4994025"/>
              <a:ext cx="3138311" cy="38386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b="1" dirty="0">
                  <a:solidFill>
                    <a:schemeClr val="accent1"/>
                  </a:solidFill>
                </a:rPr>
                <a:t>Primary Font Colors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264A49A-3419-F846-95DB-A1BD53B096C8}"/>
                </a:ext>
              </a:extLst>
            </p:cNvPr>
            <p:cNvSpPr txBox="1"/>
            <p:nvPr/>
          </p:nvSpPr>
          <p:spPr>
            <a:xfrm>
              <a:off x="6670957" y="5341944"/>
              <a:ext cx="1071261" cy="44741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 dirty="0"/>
                <a:t>Dark</a:t>
              </a:r>
            </a:p>
            <a:p>
              <a:pPr algn="l"/>
              <a:r>
                <a:rPr lang="en-US" sz="1400" dirty="0"/>
                <a:t>Lilac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D0486CD3-94E9-1B46-8465-55DA39862051}"/>
                </a:ext>
              </a:extLst>
            </p:cNvPr>
            <p:cNvSpPr txBox="1"/>
            <p:nvPr/>
          </p:nvSpPr>
          <p:spPr>
            <a:xfrm>
              <a:off x="6670957" y="5986763"/>
              <a:ext cx="1071261" cy="24763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 dirty="0"/>
                <a:t>Purple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0C7B1F2D-5F4E-D642-98C9-66606C290D38}"/>
                </a:ext>
              </a:extLst>
            </p:cNvPr>
            <p:cNvSpPr txBox="1"/>
            <p:nvPr/>
          </p:nvSpPr>
          <p:spPr>
            <a:xfrm>
              <a:off x="8151897" y="5341945"/>
              <a:ext cx="1071261" cy="44741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 dirty="0"/>
                <a:t>Deep</a:t>
              </a:r>
            </a:p>
            <a:p>
              <a:pPr algn="l"/>
              <a:r>
                <a:rPr lang="en-US" sz="1400" dirty="0"/>
                <a:t>Lilac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842F811-87C5-FC45-B12B-1797DCCCF844}"/>
                </a:ext>
              </a:extLst>
            </p:cNvPr>
            <p:cNvSpPr/>
            <p:nvPr/>
          </p:nvSpPr>
          <p:spPr>
            <a:xfrm>
              <a:off x="7847097" y="5958180"/>
              <a:ext cx="304800" cy="304800"/>
            </a:xfrm>
            <a:prstGeom prst="rect">
              <a:avLst/>
            </a:prstGeom>
            <a:solidFill>
              <a:schemeClr val="accent6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673BAD1C-422B-5C4F-A0D4-2FD10590606D}"/>
                </a:ext>
              </a:extLst>
            </p:cNvPr>
            <p:cNvSpPr txBox="1"/>
            <p:nvPr/>
          </p:nvSpPr>
          <p:spPr>
            <a:xfrm>
              <a:off x="8151897" y="5886873"/>
              <a:ext cx="1071261" cy="44741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 dirty="0"/>
                <a:t>Medium Lilac</a:t>
              </a: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7490E397-86F6-2A49-818F-747FAAAD17F5}"/>
              </a:ext>
            </a:extLst>
          </p:cNvPr>
          <p:cNvSpPr txBox="1"/>
          <p:nvPr/>
        </p:nvSpPr>
        <p:spPr>
          <a:xfrm>
            <a:off x="1637889" y="1009155"/>
            <a:ext cx="3138311" cy="3838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Font Detail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6FE6B4D-A995-9245-9849-852C72831D01}"/>
              </a:ext>
            </a:extLst>
          </p:cNvPr>
          <p:cNvSpPr txBox="1"/>
          <p:nvPr/>
        </p:nvSpPr>
        <p:spPr>
          <a:xfrm>
            <a:off x="593667" y="1879687"/>
            <a:ext cx="5226755" cy="38382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25000"/>
                  </a:schemeClr>
                </a:solidFill>
                <a:latin typeface="Montserrat Light" pitchFamily="2" charset="77"/>
              </a:rPr>
              <a:t>Montserrat</a:t>
            </a:r>
            <a:r>
              <a:rPr lang="en-US" sz="1400" dirty="0">
                <a:solidFill>
                  <a:schemeClr val="accent6">
                    <a:lumMod val="25000"/>
                  </a:schemeClr>
                </a:solidFill>
                <a:latin typeface="Montserrat" pitchFamily="2" charset="77"/>
              </a:rPr>
              <a:t>   </a:t>
            </a:r>
            <a:r>
              <a:rPr lang="en-US" sz="1400" dirty="0">
                <a:solidFill>
                  <a:schemeClr val="accent6">
                    <a:lumMod val="25000"/>
                  </a:schemeClr>
                </a:solidFill>
                <a:latin typeface="Montserrat Medium" pitchFamily="2" charset="77"/>
              </a:rPr>
              <a:t>Montserrat </a:t>
            </a:r>
            <a:r>
              <a:rPr lang="en-US" sz="1400" dirty="0">
                <a:solidFill>
                  <a:schemeClr val="accent6">
                    <a:lumMod val="25000"/>
                  </a:schemeClr>
                </a:solidFill>
                <a:latin typeface="Montserrat" pitchFamily="2" charset="77"/>
              </a:rPr>
              <a:t>   </a:t>
            </a:r>
            <a:r>
              <a:rPr lang="en-US" sz="1400" b="1" dirty="0">
                <a:solidFill>
                  <a:schemeClr val="accent6">
                    <a:lumMod val="25000"/>
                  </a:schemeClr>
                </a:solidFill>
                <a:latin typeface="Montserrat SemiBold" pitchFamily="2" charset="77"/>
              </a:rPr>
              <a:t>Montserrat     </a:t>
            </a:r>
            <a:r>
              <a:rPr lang="en-US" sz="1400" b="1" dirty="0">
                <a:solidFill>
                  <a:schemeClr val="accent6">
                    <a:lumMod val="25000"/>
                  </a:schemeClr>
                </a:solidFill>
                <a:latin typeface="Montserrat" pitchFamily="2" charset="77"/>
              </a:rPr>
              <a:t>Montserrat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A11CD05-D5F3-364F-9C74-85759AF819AB}"/>
              </a:ext>
            </a:extLst>
          </p:cNvPr>
          <p:cNvSpPr txBox="1"/>
          <p:nvPr/>
        </p:nvSpPr>
        <p:spPr>
          <a:xfrm>
            <a:off x="1664297" y="3417669"/>
            <a:ext cx="3138311" cy="3838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Labels and Description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797FC88-86F4-4D43-9BBE-90BACD3AB11A}"/>
              </a:ext>
            </a:extLst>
          </p:cNvPr>
          <p:cNvSpPr txBox="1"/>
          <p:nvPr/>
        </p:nvSpPr>
        <p:spPr>
          <a:xfrm>
            <a:off x="6244856" y="5190438"/>
            <a:ext cx="2706831" cy="11483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600" b="1" dirty="0">
                <a:solidFill>
                  <a:schemeClr val="bg2">
                    <a:lumMod val="50000"/>
                  </a:schemeClr>
                </a:solidFill>
              </a:rPr>
              <a:t>Secondary font colors are not restricted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, but should be legible and used w/ a legend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8110FA3-27A3-434D-BC3A-9B89711D2091}"/>
              </a:ext>
            </a:extLst>
          </p:cNvPr>
          <p:cNvGrpSpPr/>
          <p:nvPr/>
        </p:nvGrpSpPr>
        <p:grpSpPr>
          <a:xfrm>
            <a:off x="7327272" y="2890267"/>
            <a:ext cx="3138311" cy="1949004"/>
            <a:chOff x="6277941" y="2941629"/>
            <a:chExt cx="3138311" cy="1949004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B5CA8D5-1AAC-CA44-B2C3-D28F55E7F666}"/>
                </a:ext>
              </a:extLst>
            </p:cNvPr>
            <p:cNvSpPr/>
            <p:nvPr/>
          </p:nvSpPr>
          <p:spPr>
            <a:xfrm>
              <a:off x="6366158" y="4483433"/>
              <a:ext cx="304800" cy="304800"/>
            </a:xfrm>
            <a:prstGeom prst="rect">
              <a:avLst/>
            </a:prstGeom>
            <a:solidFill>
              <a:srgbClr val="00A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4B84A00-9C70-3E41-B00C-4F531F033418}"/>
                </a:ext>
              </a:extLst>
            </p:cNvPr>
            <p:cNvSpPr/>
            <p:nvPr/>
          </p:nvSpPr>
          <p:spPr>
            <a:xfrm>
              <a:off x="6366158" y="3943952"/>
              <a:ext cx="304800" cy="304800"/>
            </a:xfrm>
            <a:prstGeom prst="rect">
              <a:avLst/>
            </a:prstGeom>
            <a:solidFill>
              <a:srgbClr val="0DD0C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A415602-3741-3945-AEB0-EE751A4A9EB7}"/>
                </a:ext>
              </a:extLst>
            </p:cNvPr>
            <p:cNvSpPr/>
            <p:nvPr/>
          </p:nvSpPr>
          <p:spPr>
            <a:xfrm>
              <a:off x="6366158" y="3395056"/>
              <a:ext cx="304800" cy="304800"/>
            </a:xfrm>
            <a:prstGeom prst="rect">
              <a:avLst/>
            </a:prstGeom>
            <a:solidFill>
              <a:srgbClr val="A4D5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1980EFD-097D-F744-B0F4-28C9EDECC126}"/>
                </a:ext>
              </a:extLst>
            </p:cNvPr>
            <p:cNvSpPr/>
            <p:nvPr/>
          </p:nvSpPr>
          <p:spPr>
            <a:xfrm>
              <a:off x="7852967" y="3395056"/>
              <a:ext cx="304800" cy="304800"/>
            </a:xfrm>
            <a:prstGeom prst="rect">
              <a:avLst/>
            </a:prstGeom>
            <a:solidFill>
              <a:srgbClr val="EEE7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0DB36B7-0F0A-D343-B1B3-C24F18A4F61E}"/>
                </a:ext>
              </a:extLst>
            </p:cNvPr>
            <p:cNvSpPr/>
            <p:nvPr/>
          </p:nvSpPr>
          <p:spPr>
            <a:xfrm>
              <a:off x="7847097" y="3943952"/>
              <a:ext cx="304800" cy="304800"/>
            </a:xfrm>
            <a:prstGeom prst="rect">
              <a:avLst/>
            </a:prstGeom>
            <a:solidFill>
              <a:srgbClr val="F581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D0CCEF2-0F35-3A41-BDB5-F3E9AEACD7A3}"/>
                </a:ext>
              </a:extLst>
            </p:cNvPr>
            <p:cNvSpPr txBox="1"/>
            <p:nvPr/>
          </p:nvSpPr>
          <p:spPr>
            <a:xfrm>
              <a:off x="6670957" y="3395056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 dirty="0"/>
                <a:t>Grass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5E515AD-DEC4-EE4C-90C8-9E846B7284DB}"/>
                </a:ext>
              </a:extLst>
            </p:cNvPr>
            <p:cNvSpPr txBox="1"/>
            <p:nvPr/>
          </p:nvSpPr>
          <p:spPr>
            <a:xfrm>
              <a:off x="8158767" y="3395056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 dirty="0"/>
                <a:t>Yellow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AB3C8A9D-FFB8-7F48-A076-10C2F116C354}"/>
                </a:ext>
              </a:extLst>
            </p:cNvPr>
            <p:cNvSpPr txBox="1"/>
            <p:nvPr/>
          </p:nvSpPr>
          <p:spPr>
            <a:xfrm>
              <a:off x="6670957" y="4381033"/>
              <a:ext cx="1071261" cy="5096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 dirty="0"/>
                <a:t>Ocean Blue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5A86D4BD-02FA-424C-9F8A-57A97F0309F7}"/>
                </a:ext>
              </a:extLst>
            </p:cNvPr>
            <p:cNvSpPr txBox="1"/>
            <p:nvPr/>
          </p:nvSpPr>
          <p:spPr>
            <a:xfrm>
              <a:off x="6670957" y="3943952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 dirty="0"/>
                <a:t>G. Blue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11409E4-D228-3F44-96EF-72CEBD2E6FDE}"/>
                </a:ext>
              </a:extLst>
            </p:cNvPr>
            <p:cNvSpPr txBox="1"/>
            <p:nvPr/>
          </p:nvSpPr>
          <p:spPr>
            <a:xfrm>
              <a:off x="8158767" y="3943952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 dirty="0"/>
                <a:t>Orange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656549E3-03CB-1248-B01E-C30089C8A058}"/>
                </a:ext>
              </a:extLst>
            </p:cNvPr>
            <p:cNvSpPr txBox="1"/>
            <p:nvPr/>
          </p:nvSpPr>
          <p:spPr>
            <a:xfrm>
              <a:off x="6277941" y="2941629"/>
              <a:ext cx="3138311" cy="38386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b="1" dirty="0">
                  <a:solidFill>
                    <a:schemeClr val="accent1"/>
                  </a:solidFill>
                </a:rPr>
                <a:t>Secondary Focus Colors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82CDDF5-24FF-9C48-92E3-180540DB8194}"/>
                </a:ext>
              </a:extLst>
            </p:cNvPr>
            <p:cNvSpPr/>
            <p:nvPr/>
          </p:nvSpPr>
          <p:spPr>
            <a:xfrm>
              <a:off x="7834209" y="4511318"/>
              <a:ext cx="304800" cy="3048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5EAB9D7C-BBCE-2E49-B00A-7DD0781FAB16}"/>
                </a:ext>
              </a:extLst>
            </p:cNvPr>
            <p:cNvSpPr txBox="1"/>
            <p:nvPr/>
          </p:nvSpPr>
          <p:spPr>
            <a:xfrm>
              <a:off x="8158767" y="4415701"/>
              <a:ext cx="1071261" cy="3048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1400" dirty="0"/>
                <a:t>Vibrant Violet</a:t>
              </a:r>
            </a:p>
          </p:txBody>
        </p: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4705EF89-65DA-9446-AB85-28C3FD1378A7}"/>
              </a:ext>
            </a:extLst>
          </p:cNvPr>
          <p:cNvCxnSpPr>
            <a:cxnSpLocks/>
          </p:cNvCxnSpPr>
          <p:nvPr/>
        </p:nvCxnSpPr>
        <p:spPr>
          <a:xfrm>
            <a:off x="8742898" y="5827285"/>
            <a:ext cx="307060" cy="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5C9A8507-C69B-CD48-9C8F-FC2B4F4AB381}"/>
              </a:ext>
            </a:extLst>
          </p:cNvPr>
          <p:cNvSpPr txBox="1"/>
          <p:nvPr/>
        </p:nvSpPr>
        <p:spPr>
          <a:xfrm>
            <a:off x="9485169" y="1306336"/>
            <a:ext cx="2706831" cy="11483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600" b="1" dirty="0">
                <a:solidFill>
                  <a:schemeClr val="bg2">
                    <a:lumMod val="50000"/>
                  </a:schemeClr>
                </a:solidFill>
              </a:rPr>
              <a:t>Utilize our company colors 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to create uniformity and consistency within our diagrams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F95AD187-0E07-CE4E-9753-2F584E01E85D}"/>
              </a:ext>
            </a:extLst>
          </p:cNvPr>
          <p:cNvCxnSpPr>
            <a:cxnSpLocks/>
          </p:cNvCxnSpPr>
          <p:nvPr/>
        </p:nvCxnSpPr>
        <p:spPr>
          <a:xfrm>
            <a:off x="9004313" y="1888878"/>
            <a:ext cx="307060" cy="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35266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D154E3D-D509-46C9-BB6D-D642E9ACEB6A}"/>
              </a:ext>
            </a:extLst>
          </p:cNvPr>
          <p:cNvSpPr/>
          <p:nvPr/>
        </p:nvSpPr>
        <p:spPr>
          <a:xfrm>
            <a:off x="1102261" y="1418325"/>
            <a:ext cx="1046970" cy="461258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accent2"/>
                </a:solidFill>
              </a:rPr>
              <a:t>Begi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4873E1-19B4-4320-AB33-16C1A9770F47}"/>
              </a:ext>
            </a:extLst>
          </p:cNvPr>
          <p:cNvSpPr/>
          <p:nvPr/>
        </p:nvSpPr>
        <p:spPr>
          <a:xfrm>
            <a:off x="4114412" y="2204353"/>
            <a:ext cx="1627879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Process (</a:t>
            </a:r>
            <a:r>
              <a:rPr lang="en-US" sz="1200" dirty="0" err="1">
                <a:solidFill>
                  <a:schemeClr val="accent1"/>
                </a:solidFill>
              </a:rPr>
              <a:t>Lrg</a:t>
            </a:r>
            <a:r>
              <a:rPr lang="en-US" sz="1200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9" name="Diamond 8">
            <a:extLst>
              <a:ext uri="{FF2B5EF4-FFF2-40B4-BE49-F238E27FC236}">
                <a16:creationId xmlns:a16="http://schemas.microsoft.com/office/drawing/2014/main" id="{7FBCF27B-06F7-4AF4-A910-60CC1DC6FBD1}"/>
              </a:ext>
            </a:extLst>
          </p:cNvPr>
          <p:cNvSpPr/>
          <p:nvPr/>
        </p:nvSpPr>
        <p:spPr>
          <a:xfrm>
            <a:off x="4040026" y="1000981"/>
            <a:ext cx="1736388" cy="1085125"/>
          </a:xfrm>
          <a:prstGeom prst="diamond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Decisio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60CBCE5-3AD2-4914-AA8C-AD8EA15DE454}"/>
              </a:ext>
            </a:extLst>
          </p:cNvPr>
          <p:cNvSpPr/>
          <p:nvPr/>
        </p:nvSpPr>
        <p:spPr>
          <a:xfrm>
            <a:off x="1062494" y="2204353"/>
            <a:ext cx="1126503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Process (</a:t>
            </a:r>
            <a:r>
              <a:rPr lang="en-US" sz="1200" dirty="0" err="1">
                <a:solidFill>
                  <a:schemeClr val="accent1"/>
                </a:solidFill>
              </a:rPr>
              <a:t>Sml</a:t>
            </a:r>
            <a:r>
              <a:rPr lang="en-US" sz="1200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9E474F-9202-4A26-B2F0-1F3B009752AE}"/>
              </a:ext>
            </a:extLst>
          </p:cNvPr>
          <p:cNvSpPr/>
          <p:nvPr/>
        </p:nvSpPr>
        <p:spPr>
          <a:xfrm>
            <a:off x="2350115" y="2204353"/>
            <a:ext cx="1540611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Process (</a:t>
            </a:r>
            <a:r>
              <a:rPr lang="en-US" sz="1200" dirty="0" err="1">
                <a:solidFill>
                  <a:schemeClr val="accent1"/>
                </a:solidFill>
              </a:rPr>
              <a:t>Mdm</a:t>
            </a:r>
            <a:r>
              <a:rPr lang="en-US" sz="1200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1C6AC2A5-709F-9647-A5EB-804F5843D1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8" y="230436"/>
            <a:ext cx="11163301" cy="640303"/>
          </a:xfrm>
        </p:spPr>
        <p:txBody>
          <a:bodyPr/>
          <a:lstStyle/>
          <a:p>
            <a:r>
              <a:rPr lang="en-US" dirty="0"/>
              <a:t>Template – </a:t>
            </a:r>
            <a:r>
              <a:rPr lang="en-US" b="1" dirty="0"/>
              <a:t>Workflow</a:t>
            </a:r>
            <a:r>
              <a:rPr lang="en-US" dirty="0"/>
              <a:t> </a:t>
            </a:r>
            <a:r>
              <a:rPr lang="en-US" b="1" dirty="0"/>
              <a:t>Elements</a:t>
            </a:r>
          </a:p>
        </p:txBody>
      </p:sp>
      <p:sp>
        <p:nvSpPr>
          <p:cNvPr id="68" name="Rectangle: Rounded Corners 2">
            <a:extLst>
              <a:ext uri="{FF2B5EF4-FFF2-40B4-BE49-F238E27FC236}">
                <a16:creationId xmlns:a16="http://schemas.microsoft.com/office/drawing/2014/main" id="{33F96E42-8D53-E749-8639-8322D2BDCBB7}"/>
              </a:ext>
            </a:extLst>
          </p:cNvPr>
          <p:cNvSpPr/>
          <p:nvPr/>
        </p:nvSpPr>
        <p:spPr>
          <a:xfrm>
            <a:off x="2595767" y="1418325"/>
            <a:ext cx="1046970" cy="461258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accent2"/>
                </a:solidFill>
              </a:rPr>
              <a:t>End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1C88C22-70B9-5443-9428-BC0FB850A7AA}"/>
              </a:ext>
            </a:extLst>
          </p:cNvPr>
          <p:cNvGrpSpPr/>
          <p:nvPr/>
        </p:nvGrpSpPr>
        <p:grpSpPr>
          <a:xfrm>
            <a:off x="4114412" y="3579990"/>
            <a:ext cx="1180682" cy="750473"/>
            <a:chOff x="10809746" y="5286134"/>
            <a:chExt cx="1180682" cy="750473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89AF667-4212-7247-8458-039719D18C2E}"/>
                </a:ext>
              </a:extLst>
            </p:cNvPr>
            <p:cNvSpPr/>
            <p:nvPr/>
          </p:nvSpPr>
          <p:spPr>
            <a:xfrm>
              <a:off x="10826447" y="5515649"/>
              <a:ext cx="110448" cy="110448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85C5A682-35A6-1242-B697-91609BF813FA}"/>
                </a:ext>
              </a:extLst>
            </p:cNvPr>
            <p:cNvSpPr/>
            <p:nvPr/>
          </p:nvSpPr>
          <p:spPr>
            <a:xfrm>
              <a:off x="10826447" y="5720699"/>
              <a:ext cx="110448" cy="110448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E0BD754-E5A4-9343-A9C6-EF192E14A21A}"/>
                </a:ext>
              </a:extLst>
            </p:cNvPr>
            <p:cNvSpPr txBox="1"/>
            <p:nvPr/>
          </p:nvSpPr>
          <p:spPr>
            <a:xfrm>
              <a:off x="10936895" y="5515239"/>
              <a:ext cx="1053533" cy="11126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l"/>
              <a:r>
                <a:rPr lang="en-US" sz="1050" dirty="0">
                  <a:solidFill>
                    <a:schemeClr val="bg2">
                      <a:lumMod val="50000"/>
                    </a:schemeClr>
                  </a:solidFill>
                </a:rPr>
                <a:t>Legend Key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349237A-A7AA-D845-91FB-E0EBE5D03017}"/>
                </a:ext>
              </a:extLst>
            </p:cNvPr>
            <p:cNvSpPr txBox="1"/>
            <p:nvPr/>
          </p:nvSpPr>
          <p:spPr>
            <a:xfrm>
              <a:off x="10936895" y="5720289"/>
              <a:ext cx="1053533" cy="11126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l"/>
              <a:r>
                <a:rPr lang="en-US" sz="1050" dirty="0">
                  <a:solidFill>
                    <a:schemeClr val="bg2">
                      <a:lumMod val="50000"/>
                    </a:schemeClr>
                  </a:solidFill>
                </a:rPr>
                <a:t>Legend Key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397119A-832B-864C-AABE-B9EE6697CC94}"/>
                </a:ext>
              </a:extLst>
            </p:cNvPr>
            <p:cNvSpPr txBox="1"/>
            <p:nvPr/>
          </p:nvSpPr>
          <p:spPr>
            <a:xfrm>
              <a:off x="10936895" y="5925339"/>
              <a:ext cx="1053533" cy="11126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l"/>
              <a:r>
                <a:rPr lang="en-US" sz="1050" dirty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Legend Key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132E49C-78C9-C347-8DA7-CF97CA6EB10F}"/>
                </a:ext>
              </a:extLst>
            </p:cNvPr>
            <p:cNvSpPr txBox="1"/>
            <p:nvPr/>
          </p:nvSpPr>
          <p:spPr>
            <a:xfrm>
              <a:off x="10809746" y="5286134"/>
              <a:ext cx="1053533" cy="11126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Legend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3977381-3DDC-AB40-9496-3FBDAEFE752E}"/>
              </a:ext>
            </a:extLst>
          </p:cNvPr>
          <p:cNvGrpSpPr/>
          <p:nvPr/>
        </p:nvGrpSpPr>
        <p:grpSpPr>
          <a:xfrm>
            <a:off x="1062494" y="3346524"/>
            <a:ext cx="1966330" cy="1501981"/>
            <a:chOff x="8255731" y="4081763"/>
            <a:chExt cx="1966330" cy="1501981"/>
          </a:xfrm>
        </p:grpSpPr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AF6812EF-090D-A843-BCFA-296BAFCAB5A7}"/>
                </a:ext>
              </a:extLst>
            </p:cNvPr>
            <p:cNvCxnSpPr>
              <a:cxnSpLocks/>
            </p:cNvCxnSpPr>
            <p:nvPr/>
          </p:nvCxnSpPr>
          <p:spPr>
            <a:xfrm>
              <a:off x="8255731" y="4081763"/>
              <a:ext cx="1966330" cy="0"/>
            </a:xfrm>
            <a:prstGeom prst="straightConnector1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6A5ED15E-0A82-3845-A7E0-075D1FFAD954}"/>
                </a:ext>
              </a:extLst>
            </p:cNvPr>
            <p:cNvCxnSpPr>
              <a:cxnSpLocks/>
            </p:cNvCxnSpPr>
            <p:nvPr/>
          </p:nvCxnSpPr>
          <p:spPr>
            <a:xfrm>
              <a:off x="8255731" y="4375274"/>
              <a:ext cx="1964033" cy="0"/>
            </a:xfrm>
            <a:prstGeom prst="straightConnector1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  <a:headEnd type="arrow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4B90150A-CBB0-4749-98B6-2F35CFD19995}"/>
                </a:ext>
              </a:extLst>
            </p:cNvPr>
            <p:cNvCxnSpPr>
              <a:cxnSpLocks/>
            </p:cNvCxnSpPr>
            <p:nvPr/>
          </p:nvCxnSpPr>
          <p:spPr>
            <a:xfrm>
              <a:off x="8255731" y="4612341"/>
              <a:ext cx="1964033" cy="0"/>
            </a:xfrm>
            <a:prstGeom prst="line">
              <a:avLst/>
            </a:prstGeom>
            <a:ln w="127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9E88106-79DB-014F-919C-06F7D87B1E08}"/>
                </a:ext>
              </a:extLst>
            </p:cNvPr>
            <p:cNvGrpSpPr/>
            <p:nvPr/>
          </p:nvGrpSpPr>
          <p:grpSpPr>
            <a:xfrm>
              <a:off x="8271667" y="4791241"/>
              <a:ext cx="809818" cy="782989"/>
              <a:chOff x="8282956" y="4937998"/>
              <a:chExt cx="809818" cy="782989"/>
            </a:xfrm>
          </p:grpSpPr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0811F639-6532-2C4C-9336-A4396EDA60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282956" y="4947512"/>
                <a:ext cx="80981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18A616A2-FCC3-124F-A855-E86C0C8A45A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092774" y="4937998"/>
                <a:ext cx="0" cy="782989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4092AE8F-F14B-124C-A7AC-7CAB485C0560}"/>
                </a:ext>
              </a:extLst>
            </p:cNvPr>
            <p:cNvGrpSpPr/>
            <p:nvPr/>
          </p:nvGrpSpPr>
          <p:grpSpPr>
            <a:xfrm flipH="1">
              <a:off x="9393710" y="4800755"/>
              <a:ext cx="809818" cy="782989"/>
              <a:chOff x="8282956" y="4937998"/>
              <a:chExt cx="809818" cy="782989"/>
            </a:xfrm>
          </p:grpSpPr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28BCA0E0-DBE2-8440-81D9-592DD9F3CB5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282956" y="4947512"/>
                <a:ext cx="80981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A44984DA-4527-DF4A-B614-BEEF909BFA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092774" y="4937998"/>
                <a:ext cx="0" cy="782989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DF6D37C0-7E11-0C4C-AF99-A6E77483CC3E}"/>
              </a:ext>
            </a:extLst>
          </p:cNvPr>
          <p:cNvSpPr txBox="1"/>
          <p:nvPr/>
        </p:nvSpPr>
        <p:spPr>
          <a:xfrm>
            <a:off x="6637867" y="2640014"/>
            <a:ext cx="4628444" cy="244174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6">
                    <a:lumMod val="25000"/>
                  </a:schemeClr>
                </a:solidFill>
              </a:rPr>
              <a:t>Always format your flow from </a:t>
            </a:r>
            <a:r>
              <a:rPr lang="en-US" sz="1400" b="1" dirty="0">
                <a:solidFill>
                  <a:schemeClr val="accent6">
                    <a:lumMod val="25000"/>
                  </a:schemeClr>
                </a:solidFill>
              </a:rPr>
              <a:t>left to right or top to bottom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6">
                    <a:lumMod val="25000"/>
                  </a:schemeClr>
                </a:solidFill>
              </a:rPr>
              <a:t>Run your return lines under your flowchart</a:t>
            </a:r>
            <a:r>
              <a:rPr lang="en-US" sz="1400" dirty="0">
                <a:solidFill>
                  <a:schemeClr val="accent6">
                    <a:lumMod val="25000"/>
                  </a:schemeClr>
                </a:solidFill>
              </a:rPr>
              <a:t>, making sure that they don’t overlap unless necessary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6">
                    <a:lumMod val="25000"/>
                  </a:schemeClr>
                </a:solidFill>
              </a:rPr>
              <a:t>Maintain consistent spacing</a:t>
            </a:r>
            <a:r>
              <a:rPr lang="en-US" sz="1400" dirty="0">
                <a:solidFill>
                  <a:schemeClr val="accent6">
                    <a:lumMod val="25000"/>
                  </a:schemeClr>
                </a:solidFill>
              </a:rPr>
              <a:t> between symbols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6">
                    <a:lumMod val="25000"/>
                  </a:schemeClr>
                </a:solidFill>
              </a:rPr>
              <a:t>Use the correct symbol for each step </a:t>
            </a:r>
            <a:r>
              <a:rPr lang="en-US" sz="1400" dirty="0">
                <a:solidFill>
                  <a:schemeClr val="accent6">
                    <a:lumMod val="25000"/>
                  </a:schemeClr>
                </a:solidFill>
              </a:rPr>
              <a:t>(diamond shapes are for decisions, rectangles are used for processes, start/end shapes should be the same, etc.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705B13-856E-964A-BDBA-0BEAF84BEF6B}"/>
              </a:ext>
            </a:extLst>
          </p:cNvPr>
          <p:cNvSpPr txBox="1"/>
          <p:nvPr/>
        </p:nvSpPr>
        <p:spPr>
          <a:xfrm>
            <a:off x="6637867" y="2130956"/>
            <a:ext cx="4387620" cy="4353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b="1" dirty="0">
                <a:solidFill>
                  <a:schemeClr val="accent1"/>
                </a:solidFill>
              </a:rPr>
              <a:t>Tips &amp; Guideline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40B7022-025C-A445-AF60-2FB646D4B096}"/>
              </a:ext>
            </a:extLst>
          </p:cNvPr>
          <p:cNvSpPr txBox="1"/>
          <p:nvPr/>
        </p:nvSpPr>
        <p:spPr>
          <a:xfrm>
            <a:off x="2389653" y="5047238"/>
            <a:ext cx="2140246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25000"/>
                  </a:schemeClr>
                </a:solidFill>
              </a:rPr>
              <a:t>Header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EEF23C8-BA7F-4743-A2DB-47B8A5159840}"/>
              </a:ext>
            </a:extLst>
          </p:cNvPr>
          <p:cNvSpPr txBox="1"/>
          <p:nvPr/>
        </p:nvSpPr>
        <p:spPr>
          <a:xfrm>
            <a:off x="3950900" y="5047238"/>
            <a:ext cx="2140246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100" dirty="0">
                <a:solidFill>
                  <a:schemeClr val="bg2">
                    <a:lumMod val="50000"/>
                  </a:schemeClr>
                </a:solidFill>
              </a:rPr>
              <a:t>Subtitle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7639625-BAE6-5B47-88B5-4C0FAEF962B9}"/>
              </a:ext>
            </a:extLst>
          </p:cNvPr>
          <p:cNvSpPr txBox="1"/>
          <p:nvPr/>
        </p:nvSpPr>
        <p:spPr>
          <a:xfrm>
            <a:off x="593768" y="5047238"/>
            <a:ext cx="2140246" cy="3092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accent6">
                    <a:lumMod val="25000"/>
                  </a:schemeClr>
                </a:solidFill>
              </a:rPr>
              <a:t>Title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89D2F99-DCB6-AD4F-8604-43CA29B2DE18}"/>
              </a:ext>
            </a:extLst>
          </p:cNvPr>
          <p:cNvSpPr txBox="1"/>
          <p:nvPr/>
        </p:nvSpPr>
        <p:spPr>
          <a:xfrm>
            <a:off x="1031179" y="5536990"/>
            <a:ext cx="2140246" cy="88229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25000"/>
                  </a:schemeClr>
                </a:solidFill>
              </a:rPr>
              <a:t>Description Box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DFE716F-06D5-5E43-8753-00C5479DF9E7}"/>
              </a:ext>
            </a:extLst>
          </p:cNvPr>
          <p:cNvSpPr txBox="1"/>
          <p:nvPr/>
        </p:nvSpPr>
        <p:spPr>
          <a:xfrm>
            <a:off x="3066270" y="5536006"/>
            <a:ext cx="2140246" cy="88229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ctr"/>
            <a:r>
              <a:rPr lang="en-US" sz="1100" dirty="0">
                <a:solidFill>
                  <a:schemeClr val="bg2">
                    <a:lumMod val="50000"/>
                  </a:schemeClr>
                </a:solidFill>
              </a:rPr>
              <a:t>Description Box</a:t>
            </a:r>
          </a:p>
        </p:txBody>
      </p:sp>
    </p:spTree>
    <p:extLst>
      <p:ext uri="{BB962C8B-B14F-4D97-AF65-F5344CB8AC3E}">
        <p14:creationId xmlns:p14="http://schemas.microsoft.com/office/powerpoint/2010/main" val="647857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D154E3D-D509-46C9-BB6D-D642E9ACEB6A}"/>
              </a:ext>
            </a:extLst>
          </p:cNvPr>
          <p:cNvSpPr/>
          <p:nvPr/>
        </p:nvSpPr>
        <p:spPr>
          <a:xfrm>
            <a:off x="763592" y="1305435"/>
            <a:ext cx="1046970" cy="461258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accent2"/>
                </a:solidFill>
              </a:rPr>
              <a:t>Begin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D581F21D-0A75-4100-87EE-34C7B377A32D}"/>
              </a:ext>
            </a:extLst>
          </p:cNvPr>
          <p:cNvCxnSpPr>
            <a:cxnSpLocks/>
          </p:cNvCxnSpPr>
          <p:nvPr/>
        </p:nvCxnSpPr>
        <p:spPr>
          <a:xfrm>
            <a:off x="4550722" y="1536063"/>
            <a:ext cx="587908" cy="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4F4873E1-19B4-4320-AB33-16C1A9770F47}"/>
              </a:ext>
            </a:extLst>
          </p:cNvPr>
          <p:cNvSpPr/>
          <p:nvPr/>
        </p:nvSpPr>
        <p:spPr>
          <a:xfrm>
            <a:off x="473138" y="2522273"/>
            <a:ext cx="1627879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Process (</a:t>
            </a:r>
            <a:r>
              <a:rPr lang="en-US" sz="1200" dirty="0" err="1">
                <a:solidFill>
                  <a:schemeClr val="accent1"/>
                </a:solidFill>
              </a:rPr>
              <a:t>Lrg</a:t>
            </a:r>
            <a:r>
              <a:rPr lang="en-US" sz="1200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69B95BA-62E8-4DE6-8808-5AFAD5B38819}"/>
              </a:ext>
            </a:extLst>
          </p:cNvPr>
          <p:cNvSpPr/>
          <p:nvPr/>
        </p:nvSpPr>
        <p:spPr>
          <a:xfrm>
            <a:off x="7985253" y="1154278"/>
            <a:ext cx="1172950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Process (</a:t>
            </a:r>
            <a:r>
              <a:rPr lang="en-US" sz="1200" dirty="0" err="1">
                <a:solidFill>
                  <a:schemeClr val="accent1"/>
                </a:solidFill>
              </a:rPr>
              <a:t>Sml</a:t>
            </a:r>
            <a:r>
              <a:rPr lang="en-US" sz="1200" dirty="0">
                <a:solidFill>
                  <a:schemeClr val="accent1"/>
                </a:solidFill>
              </a:rPr>
              <a:t>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B583B18-799C-45B7-9E6D-5541E3D0D340}"/>
              </a:ext>
            </a:extLst>
          </p:cNvPr>
          <p:cNvCxnSpPr>
            <a:cxnSpLocks/>
          </p:cNvCxnSpPr>
          <p:nvPr/>
        </p:nvCxnSpPr>
        <p:spPr>
          <a:xfrm>
            <a:off x="2104026" y="5965716"/>
            <a:ext cx="861810" cy="9073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mond 8">
            <a:extLst>
              <a:ext uri="{FF2B5EF4-FFF2-40B4-BE49-F238E27FC236}">
                <a16:creationId xmlns:a16="http://schemas.microsoft.com/office/drawing/2014/main" id="{7FBCF27B-06F7-4AF4-A910-60CC1DC6FBD1}"/>
              </a:ext>
            </a:extLst>
          </p:cNvPr>
          <p:cNvSpPr/>
          <p:nvPr/>
        </p:nvSpPr>
        <p:spPr>
          <a:xfrm>
            <a:off x="418883" y="3905064"/>
            <a:ext cx="1736388" cy="1085125"/>
          </a:xfrm>
          <a:prstGeom prst="diamond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Decision</a:t>
            </a:r>
          </a:p>
        </p:txBody>
      </p:sp>
      <p:sp>
        <p:nvSpPr>
          <p:cNvPr id="10" name="Diamond 9">
            <a:extLst>
              <a:ext uri="{FF2B5EF4-FFF2-40B4-BE49-F238E27FC236}">
                <a16:creationId xmlns:a16="http://schemas.microsoft.com/office/drawing/2014/main" id="{297BFA34-7BE0-49E0-905D-1ED072F28873}"/>
              </a:ext>
            </a:extLst>
          </p:cNvPr>
          <p:cNvSpPr/>
          <p:nvPr/>
        </p:nvSpPr>
        <p:spPr>
          <a:xfrm>
            <a:off x="2892107" y="3923361"/>
            <a:ext cx="1769348" cy="1048531"/>
          </a:xfrm>
          <a:prstGeom prst="diamond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Decis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94DE301-4D2E-481E-BD8F-A19FCD4416A9}"/>
              </a:ext>
            </a:extLst>
          </p:cNvPr>
          <p:cNvSpPr/>
          <p:nvPr/>
        </p:nvSpPr>
        <p:spPr>
          <a:xfrm>
            <a:off x="2989270" y="2522273"/>
            <a:ext cx="1575023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Process (</a:t>
            </a:r>
            <a:r>
              <a:rPr lang="en-US" sz="1200">
                <a:solidFill>
                  <a:schemeClr val="accent1"/>
                </a:solidFill>
              </a:rPr>
              <a:t>Lrg)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A13CDD5-03A4-44E9-A486-15454735450E}"/>
              </a:ext>
            </a:extLst>
          </p:cNvPr>
          <p:cNvSpPr/>
          <p:nvPr/>
        </p:nvSpPr>
        <p:spPr>
          <a:xfrm>
            <a:off x="2989270" y="1154278"/>
            <a:ext cx="1575023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Process (</a:t>
            </a:r>
            <a:r>
              <a:rPr lang="en-US" sz="1200" dirty="0" err="1">
                <a:solidFill>
                  <a:schemeClr val="accent1"/>
                </a:solidFill>
              </a:rPr>
              <a:t>Lrg</a:t>
            </a:r>
            <a:endParaRPr lang="en-US" sz="1200" dirty="0">
              <a:solidFill>
                <a:schemeClr val="accent1"/>
              </a:solidFill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FE69B69-884F-4ACD-B419-4D68220388AC}"/>
              </a:ext>
            </a:extLst>
          </p:cNvPr>
          <p:cNvCxnSpPr>
            <a:cxnSpLocks/>
          </p:cNvCxnSpPr>
          <p:nvPr/>
        </p:nvCxnSpPr>
        <p:spPr>
          <a:xfrm>
            <a:off x="2155271" y="4444268"/>
            <a:ext cx="736836" cy="6717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2CA28ED2-7203-42A6-B81F-9825F14E4AED}"/>
              </a:ext>
            </a:extLst>
          </p:cNvPr>
          <p:cNvSpPr/>
          <p:nvPr/>
        </p:nvSpPr>
        <p:spPr>
          <a:xfrm>
            <a:off x="473138" y="5583931"/>
            <a:ext cx="1627879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Process (</a:t>
            </a:r>
            <a:r>
              <a:rPr lang="en-US" sz="1200" dirty="0" err="1">
                <a:solidFill>
                  <a:schemeClr val="accent1"/>
                </a:solidFill>
              </a:rPr>
              <a:t>Lrg</a:t>
            </a:r>
            <a:endParaRPr lang="en-US" sz="1200" dirty="0">
              <a:solidFill>
                <a:schemeClr val="accent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4CA018E-2C00-496D-B358-B51410A0B5F6}"/>
              </a:ext>
            </a:extLst>
          </p:cNvPr>
          <p:cNvCxnSpPr>
            <a:cxnSpLocks/>
            <a:stCxn id="3" idx="2"/>
            <a:endCxn id="6" idx="0"/>
          </p:cNvCxnSpPr>
          <p:nvPr/>
        </p:nvCxnSpPr>
        <p:spPr>
          <a:xfrm>
            <a:off x="1287077" y="1766693"/>
            <a:ext cx="1" cy="75558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21CED51-5BD4-49D4-9E76-09B3601C0CC8}"/>
              </a:ext>
            </a:extLst>
          </p:cNvPr>
          <p:cNvSpPr txBox="1"/>
          <p:nvPr/>
        </p:nvSpPr>
        <p:spPr>
          <a:xfrm>
            <a:off x="2122327" y="4153095"/>
            <a:ext cx="7393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dirty="0">
                <a:solidFill>
                  <a:schemeClr val="accent1"/>
                </a:solidFill>
              </a:rPr>
              <a:t>Subtit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2519A2C-CD32-4794-B042-1E46F68DFED2}"/>
              </a:ext>
            </a:extLst>
          </p:cNvPr>
          <p:cNvSpPr txBox="1"/>
          <p:nvPr/>
        </p:nvSpPr>
        <p:spPr>
          <a:xfrm>
            <a:off x="387683" y="5296121"/>
            <a:ext cx="7393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dirty="0">
                <a:solidFill>
                  <a:schemeClr val="accent1"/>
                </a:solidFill>
              </a:rPr>
              <a:t>Subtitle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027A4B9-6ECD-413D-926E-15860A026865}"/>
              </a:ext>
            </a:extLst>
          </p:cNvPr>
          <p:cNvCxnSpPr>
            <a:cxnSpLocks/>
            <a:stCxn id="11" idx="0"/>
          </p:cNvCxnSpPr>
          <p:nvPr/>
        </p:nvCxnSpPr>
        <p:spPr>
          <a:xfrm flipV="1">
            <a:off x="3776782" y="1926129"/>
            <a:ext cx="0" cy="596144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E13CC79F-8A33-4188-AEBC-87FAA03EBF60}"/>
              </a:ext>
            </a:extLst>
          </p:cNvPr>
          <p:cNvSpPr txBox="1"/>
          <p:nvPr/>
        </p:nvSpPr>
        <p:spPr>
          <a:xfrm>
            <a:off x="4671566" y="4153095"/>
            <a:ext cx="7393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dirty="0">
                <a:solidFill>
                  <a:schemeClr val="accent1"/>
                </a:solidFill>
              </a:rPr>
              <a:t>Subtitl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1D02A30-B1A7-4C44-ABDD-B85DD463FF57}"/>
              </a:ext>
            </a:extLst>
          </p:cNvPr>
          <p:cNvSpPr txBox="1"/>
          <p:nvPr/>
        </p:nvSpPr>
        <p:spPr>
          <a:xfrm>
            <a:off x="2893806" y="3487875"/>
            <a:ext cx="7393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dirty="0">
                <a:solidFill>
                  <a:schemeClr val="accent1"/>
                </a:solidFill>
              </a:rPr>
              <a:t>Subtitle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7FCA54A-B005-410B-9B9B-8BB635A36688}"/>
              </a:ext>
            </a:extLst>
          </p:cNvPr>
          <p:cNvCxnSpPr>
            <a:cxnSpLocks/>
          </p:cNvCxnSpPr>
          <p:nvPr/>
        </p:nvCxnSpPr>
        <p:spPr>
          <a:xfrm>
            <a:off x="6748806" y="1532828"/>
            <a:ext cx="1236447" cy="647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160CBCE5-3AD2-4914-AA8C-AD8EA15DE454}"/>
              </a:ext>
            </a:extLst>
          </p:cNvPr>
          <p:cNvSpPr/>
          <p:nvPr/>
        </p:nvSpPr>
        <p:spPr>
          <a:xfrm>
            <a:off x="8008477" y="2354082"/>
            <a:ext cx="1126503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Process (</a:t>
            </a:r>
            <a:r>
              <a:rPr lang="en-US" sz="1200" dirty="0" err="1">
                <a:solidFill>
                  <a:schemeClr val="accent1"/>
                </a:solidFill>
              </a:rPr>
              <a:t>Sml</a:t>
            </a:r>
            <a:r>
              <a:rPr lang="en-US" sz="1200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9E474F-9202-4A26-B2F0-1F3B009752AE}"/>
              </a:ext>
            </a:extLst>
          </p:cNvPr>
          <p:cNvSpPr/>
          <p:nvPr/>
        </p:nvSpPr>
        <p:spPr>
          <a:xfrm>
            <a:off x="5766410" y="4829411"/>
            <a:ext cx="1209044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Process (</a:t>
            </a:r>
            <a:r>
              <a:rPr lang="en-US" sz="1200" dirty="0" err="1">
                <a:solidFill>
                  <a:schemeClr val="accent1"/>
                </a:solidFill>
              </a:rPr>
              <a:t>Sml</a:t>
            </a:r>
            <a:r>
              <a:rPr lang="en-US" sz="1200" dirty="0">
                <a:solidFill>
                  <a:schemeClr val="accent1"/>
                </a:solidFill>
              </a:rPr>
              <a:t>)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7A8F96C-2ED8-4D88-8FA4-9A853922A8DA}"/>
              </a:ext>
            </a:extLst>
          </p:cNvPr>
          <p:cNvCxnSpPr>
            <a:cxnSpLocks/>
            <a:endCxn id="11" idx="2"/>
          </p:cNvCxnSpPr>
          <p:nvPr/>
        </p:nvCxnSpPr>
        <p:spPr>
          <a:xfrm flipV="1">
            <a:off x="3776781" y="3285844"/>
            <a:ext cx="1" cy="653562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746DDBA9-FB70-4C30-AB66-1CD21D8A82BD}"/>
              </a:ext>
            </a:extLst>
          </p:cNvPr>
          <p:cNvCxnSpPr>
            <a:cxnSpLocks/>
            <a:stCxn id="6" idx="2"/>
          </p:cNvCxnSpPr>
          <p:nvPr/>
        </p:nvCxnSpPr>
        <p:spPr>
          <a:xfrm>
            <a:off x="1287078" y="3285844"/>
            <a:ext cx="6511" cy="61922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96F3811-D073-4F4C-BD5E-6F636BB9002C}"/>
              </a:ext>
            </a:extLst>
          </p:cNvPr>
          <p:cNvCxnSpPr>
            <a:cxnSpLocks/>
          </p:cNvCxnSpPr>
          <p:nvPr/>
        </p:nvCxnSpPr>
        <p:spPr>
          <a:xfrm>
            <a:off x="1287077" y="4990189"/>
            <a:ext cx="0" cy="591717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D095E117-959A-4582-A630-E5954953CC48}"/>
              </a:ext>
            </a:extLst>
          </p:cNvPr>
          <p:cNvCxnSpPr>
            <a:cxnSpLocks/>
            <a:stCxn id="18" idx="2"/>
            <a:endCxn id="28" idx="0"/>
          </p:cNvCxnSpPr>
          <p:nvPr/>
        </p:nvCxnSpPr>
        <p:spPr>
          <a:xfrm rot="16200000" flipH="1">
            <a:off x="4772784" y="3231263"/>
            <a:ext cx="2769082" cy="427214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7FBEA18C-00BD-4BB1-869F-8A1EE2C8A54B}"/>
              </a:ext>
            </a:extLst>
          </p:cNvPr>
          <p:cNvSpPr txBox="1"/>
          <p:nvPr/>
        </p:nvSpPr>
        <p:spPr>
          <a:xfrm>
            <a:off x="6370932" y="3157822"/>
            <a:ext cx="7393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dirty="0">
                <a:solidFill>
                  <a:schemeClr val="accent1"/>
                </a:solidFill>
              </a:rPr>
              <a:t>Subtitle</a:t>
            </a:r>
          </a:p>
        </p:txBody>
      </p: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C1012CDC-FC28-4E4A-BF77-D80CFF40E5B2}"/>
              </a:ext>
            </a:extLst>
          </p:cNvPr>
          <p:cNvCxnSpPr>
            <a:cxnSpLocks/>
            <a:endCxn id="63" idx="1"/>
          </p:cNvCxnSpPr>
          <p:nvPr/>
        </p:nvCxnSpPr>
        <p:spPr>
          <a:xfrm>
            <a:off x="6975454" y="5182910"/>
            <a:ext cx="3554641" cy="48746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1F628A31-A957-434F-9C6C-864A1500CD41}"/>
              </a:ext>
            </a:extLst>
          </p:cNvPr>
          <p:cNvCxnSpPr>
            <a:cxnSpLocks/>
            <a:endCxn id="28" idx="1"/>
          </p:cNvCxnSpPr>
          <p:nvPr/>
        </p:nvCxnSpPr>
        <p:spPr>
          <a:xfrm>
            <a:off x="4652092" y="4452378"/>
            <a:ext cx="1114318" cy="758819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2CD5EDC3-CCB0-4324-9128-A876C6065D9C}"/>
              </a:ext>
            </a:extLst>
          </p:cNvPr>
          <p:cNvCxnSpPr>
            <a:cxnSpLocks/>
            <a:endCxn id="59" idx="1"/>
          </p:cNvCxnSpPr>
          <p:nvPr/>
        </p:nvCxnSpPr>
        <p:spPr>
          <a:xfrm flipV="1">
            <a:off x="6982597" y="4642424"/>
            <a:ext cx="3547498" cy="549298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56F71929-6A03-45A0-875F-16F384AF0A95}"/>
              </a:ext>
            </a:extLst>
          </p:cNvPr>
          <p:cNvCxnSpPr>
            <a:cxnSpLocks/>
            <a:endCxn id="58" idx="1"/>
          </p:cNvCxnSpPr>
          <p:nvPr/>
        </p:nvCxnSpPr>
        <p:spPr>
          <a:xfrm flipV="1">
            <a:off x="6967855" y="3529655"/>
            <a:ext cx="3564810" cy="165325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0B78C80F-011A-4B3F-810D-2AA2752CECC4}"/>
              </a:ext>
            </a:extLst>
          </p:cNvPr>
          <p:cNvSpPr txBox="1"/>
          <p:nvPr/>
        </p:nvSpPr>
        <p:spPr>
          <a:xfrm>
            <a:off x="6923466" y="1225977"/>
            <a:ext cx="739305" cy="261610"/>
          </a:xfrm>
          <a:prstGeom prst="rect">
            <a:avLst/>
          </a:prstGeom>
          <a:noFill/>
          <a:ln w="19050"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US" sz="1050" dirty="0">
                <a:solidFill>
                  <a:schemeClr val="accent1"/>
                </a:solidFill>
              </a:rPr>
              <a:t>Subtitle</a:t>
            </a:r>
          </a:p>
        </p:txBody>
      </p: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45B171A1-09B7-4876-87B8-E419C3DADF3D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9158203" y="1536064"/>
            <a:ext cx="1371892" cy="648753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44AF3BCA-542D-46D4-A81A-F55CB2D55E80}"/>
              </a:ext>
            </a:extLst>
          </p:cNvPr>
          <p:cNvCxnSpPr>
            <a:cxnSpLocks/>
          </p:cNvCxnSpPr>
          <p:nvPr/>
        </p:nvCxnSpPr>
        <p:spPr>
          <a:xfrm flipV="1">
            <a:off x="9158203" y="2184817"/>
            <a:ext cx="1371892" cy="532314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A15C6135-8E91-4AF9-9BDB-920917442B8E}"/>
              </a:ext>
            </a:extLst>
          </p:cNvPr>
          <p:cNvSpPr txBox="1"/>
          <p:nvPr/>
        </p:nvSpPr>
        <p:spPr>
          <a:xfrm>
            <a:off x="9861140" y="1418259"/>
            <a:ext cx="7393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dirty="0">
                <a:solidFill>
                  <a:schemeClr val="accent1"/>
                </a:solidFill>
              </a:rPr>
              <a:t>Subtitle</a:t>
            </a: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0D667985-10E3-4DB2-B74F-24ED52BB57CF}"/>
              </a:ext>
            </a:extLst>
          </p:cNvPr>
          <p:cNvCxnSpPr>
            <a:cxnSpLocks/>
            <a:stCxn id="27" idx="1"/>
            <a:endCxn id="28" idx="0"/>
          </p:cNvCxnSpPr>
          <p:nvPr/>
        </p:nvCxnSpPr>
        <p:spPr>
          <a:xfrm rot="10800000" flipV="1">
            <a:off x="6370933" y="2735867"/>
            <a:ext cx="1637545" cy="2093543"/>
          </a:xfrm>
          <a:prstGeom prst="bentConnector2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2BD799C9-EBC2-4ECC-B0C4-F8DBE07B1AFB}"/>
              </a:ext>
            </a:extLst>
          </p:cNvPr>
          <p:cNvCxnSpPr>
            <a:cxnSpLocks/>
            <a:endCxn id="27" idx="0"/>
          </p:cNvCxnSpPr>
          <p:nvPr/>
        </p:nvCxnSpPr>
        <p:spPr>
          <a:xfrm>
            <a:off x="8564718" y="1918740"/>
            <a:ext cx="7011" cy="435342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itle 1">
            <a:extLst>
              <a:ext uri="{FF2B5EF4-FFF2-40B4-BE49-F238E27FC236}">
                <a16:creationId xmlns:a16="http://schemas.microsoft.com/office/drawing/2014/main" id="{1C6AC2A5-709F-9647-A5EB-804F5843D1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8" y="230436"/>
            <a:ext cx="11163301" cy="640303"/>
          </a:xfrm>
        </p:spPr>
        <p:txBody>
          <a:bodyPr/>
          <a:lstStyle/>
          <a:p>
            <a:r>
              <a:rPr lang="en-US" dirty="0"/>
              <a:t>Template - </a:t>
            </a:r>
            <a:r>
              <a:rPr lang="en-US" b="1" dirty="0"/>
              <a:t>Workflow</a:t>
            </a:r>
          </a:p>
        </p:txBody>
      </p:sp>
      <p:sp>
        <p:nvSpPr>
          <p:cNvPr id="18" name="Diamond 17">
            <a:extLst>
              <a:ext uri="{FF2B5EF4-FFF2-40B4-BE49-F238E27FC236}">
                <a16:creationId xmlns:a16="http://schemas.microsoft.com/office/drawing/2014/main" id="{445A6225-09D4-4CF8-A146-10710ED5F37A}"/>
              </a:ext>
            </a:extLst>
          </p:cNvPr>
          <p:cNvSpPr/>
          <p:nvPr/>
        </p:nvSpPr>
        <p:spPr>
          <a:xfrm>
            <a:off x="5138630" y="1011798"/>
            <a:ext cx="1610176" cy="1048531"/>
          </a:xfrm>
          <a:prstGeom prst="diamond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accent1"/>
                </a:solidFill>
              </a:rPr>
              <a:t>Decision</a:t>
            </a:r>
          </a:p>
        </p:txBody>
      </p:sp>
      <p:sp>
        <p:nvSpPr>
          <p:cNvPr id="57" name="Rectangle: Rounded Corners 2">
            <a:extLst>
              <a:ext uri="{FF2B5EF4-FFF2-40B4-BE49-F238E27FC236}">
                <a16:creationId xmlns:a16="http://schemas.microsoft.com/office/drawing/2014/main" id="{9B8F1CB8-449E-CE48-8841-B567EA15056B}"/>
              </a:ext>
            </a:extLst>
          </p:cNvPr>
          <p:cNvSpPr/>
          <p:nvPr/>
        </p:nvSpPr>
        <p:spPr>
          <a:xfrm>
            <a:off x="10530095" y="1984948"/>
            <a:ext cx="1046970" cy="461258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accent2"/>
                </a:solidFill>
              </a:rPr>
              <a:t>End</a:t>
            </a:r>
          </a:p>
        </p:txBody>
      </p:sp>
      <p:sp>
        <p:nvSpPr>
          <p:cNvPr id="58" name="Rectangle: Rounded Corners 2">
            <a:extLst>
              <a:ext uri="{FF2B5EF4-FFF2-40B4-BE49-F238E27FC236}">
                <a16:creationId xmlns:a16="http://schemas.microsoft.com/office/drawing/2014/main" id="{DD94A541-FA80-454D-AAC3-9D3D50531D4B}"/>
              </a:ext>
            </a:extLst>
          </p:cNvPr>
          <p:cNvSpPr/>
          <p:nvPr/>
        </p:nvSpPr>
        <p:spPr>
          <a:xfrm>
            <a:off x="10532665" y="3299026"/>
            <a:ext cx="1046970" cy="461258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accent2"/>
                </a:solidFill>
              </a:rPr>
              <a:t>End</a:t>
            </a:r>
          </a:p>
        </p:txBody>
      </p:sp>
      <p:sp>
        <p:nvSpPr>
          <p:cNvPr id="59" name="Rectangle: Rounded Corners 2">
            <a:extLst>
              <a:ext uri="{FF2B5EF4-FFF2-40B4-BE49-F238E27FC236}">
                <a16:creationId xmlns:a16="http://schemas.microsoft.com/office/drawing/2014/main" id="{D4C1D4DA-8930-5A4D-94DE-C0C9BB15E288}"/>
              </a:ext>
            </a:extLst>
          </p:cNvPr>
          <p:cNvSpPr/>
          <p:nvPr/>
        </p:nvSpPr>
        <p:spPr>
          <a:xfrm>
            <a:off x="10530095" y="4411795"/>
            <a:ext cx="1046970" cy="461258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accent2"/>
                </a:solidFill>
              </a:rPr>
              <a:t>End</a:t>
            </a:r>
          </a:p>
        </p:txBody>
      </p:sp>
      <p:sp>
        <p:nvSpPr>
          <p:cNvPr id="63" name="Rectangle: Rounded Corners 2">
            <a:extLst>
              <a:ext uri="{FF2B5EF4-FFF2-40B4-BE49-F238E27FC236}">
                <a16:creationId xmlns:a16="http://schemas.microsoft.com/office/drawing/2014/main" id="{EABF19F1-569E-4D46-8226-8C711253494F}"/>
              </a:ext>
            </a:extLst>
          </p:cNvPr>
          <p:cNvSpPr/>
          <p:nvPr/>
        </p:nvSpPr>
        <p:spPr>
          <a:xfrm>
            <a:off x="10530095" y="5439741"/>
            <a:ext cx="1046970" cy="461258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accent2"/>
                </a:solidFill>
              </a:rPr>
              <a:t>End</a:t>
            </a:r>
          </a:p>
        </p:txBody>
      </p:sp>
      <p:sp>
        <p:nvSpPr>
          <p:cNvPr id="68" name="Rectangle: Rounded Corners 2">
            <a:extLst>
              <a:ext uri="{FF2B5EF4-FFF2-40B4-BE49-F238E27FC236}">
                <a16:creationId xmlns:a16="http://schemas.microsoft.com/office/drawing/2014/main" id="{33F96E42-8D53-E749-8639-8322D2BDCBB7}"/>
              </a:ext>
            </a:extLst>
          </p:cNvPr>
          <p:cNvSpPr/>
          <p:nvPr/>
        </p:nvSpPr>
        <p:spPr>
          <a:xfrm>
            <a:off x="2965836" y="5744160"/>
            <a:ext cx="1046970" cy="461258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accent2"/>
                </a:solidFill>
              </a:rPr>
              <a:t>End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1C88C22-70B9-5443-9428-BC0FB850A7AA}"/>
              </a:ext>
            </a:extLst>
          </p:cNvPr>
          <p:cNvGrpSpPr/>
          <p:nvPr/>
        </p:nvGrpSpPr>
        <p:grpSpPr>
          <a:xfrm>
            <a:off x="10804391" y="202563"/>
            <a:ext cx="1180682" cy="750473"/>
            <a:chOff x="10809746" y="5286134"/>
            <a:chExt cx="1180682" cy="750473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89AF667-4212-7247-8458-039719D18C2E}"/>
                </a:ext>
              </a:extLst>
            </p:cNvPr>
            <p:cNvSpPr/>
            <p:nvPr/>
          </p:nvSpPr>
          <p:spPr>
            <a:xfrm>
              <a:off x="10826447" y="5515649"/>
              <a:ext cx="110448" cy="110448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85C5A682-35A6-1242-B697-91609BF813FA}"/>
                </a:ext>
              </a:extLst>
            </p:cNvPr>
            <p:cNvSpPr/>
            <p:nvPr/>
          </p:nvSpPr>
          <p:spPr>
            <a:xfrm>
              <a:off x="10826447" y="5720699"/>
              <a:ext cx="110448" cy="110448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E0BD754-E5A4-9343-A9C6-EF192E14A21A}"/>
                </a:ext>
              </a:extLst>
            </p:cNvPr>
            <p:cNvSpPr txBox="1"/>
            <p:nvPr/>
          </p:nvSpPr>
          <p:spPr>
            <a:xfrm>
              <a:off x="10936895" y="5515239"/>
              <a:ext cx="1053533" cy="11126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l"/>
              <a:r>
                <a:rPr lang="en-US" sz="1050" dirty="0">
                  <a:solidFill>
                    <a:schemeClr val="bg2">
                      <a:lumMod val="50000"/>
                    </a:schemeClr>
                  </a:solidFill>
                </a:rPr>
                <a:t>Legend Key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349237A-A7AA-D845-91FB-E0EBE5D03017}"/>
                </a:ext>
              </a:extLst>
            </p:cNvPr>
            <p:cNvSpPr txBox="1"/>
            <p:nvPr/>
          </p:nvSpPr>
          <p:spPr>
            <a:xfrm>
              <a:off x="10936895" y="5720289"/>
              <a:ext cx="1053533" cy="11126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l"/>
              <a:r>
                <a:rPr lang="en-US" sz="1050" dirty="0">
                  <a:solidFill>
                    <a:schemeClr val="bg2">
                      <a:lumMod val="50000"/>
                    </a:schemeClr>
                  </a:solidFill>
                </a:rPr>
                <a:t>Legend Key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397119A-832B-864C-AABE-B9EE6697CC94}"/>
                </a:ext>
              </a:extLst>
            </p:cNvPr>
            <p:cNvSpPr txBox="1"/>
            <p:nvPr/>
          </p:nvSpPr>
          <p:spPr>
            <a:xfrm>
              <a:off x="10936895" y="5925339"/>
              <a:ext cx="1053533" cy="11126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l"/>
              <a:r>
                <a:rPr lang="en-US" sz="1050" dirty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Legend Key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132E49C-78C9-C347-8DA7-CF97CA6EB10F}"/>
                </a:ext>
              </a:extLst>
            </p:cNvPr>
            <p:cNvSpPr txBox="1"/>
            <p:nvPr/>
          </p:nvSpPr>
          <p:spPr>
            <a:xfrm>
              <a:off x="10809746" y="5286134"/>
              <a:ext cx="1053533" cy="11126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2381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D154E3D-D509-46C9-BB6D-D642E9ACEB6A}"/>
              </a:ext>
            </a:extLst>
          </p:cNvPr>
          <p:cNvSpPr/>
          <p:nvPr/>
        </p:nvSpPr>
        <p:spPr>
          <a:xfrm>
            <a:off x="118132" y="1233852"/>
            <a:ext cx="1046970" cy="461258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err="1">
                <a:solidFill>
                  <a:schemeClr val="accent2"/>
                </a:solidFill>
              </a:rPr>
              <a:t>NCQA</a:t>
            </a:r>
            <a:r>
              <a:rPr lang="en-US" sz="800" b="1" dirty="0">
                <a:solidFill>
                  <a:schemeClr val="accent2"/>
                </a:solidFill>
              </a:rPr>
              <a:t> issues </a:t>
            </a:r>
            <a:r>
              <a:rPr lang="en-US" sz="800" b="1" dirty="0" err="1">
                <a:solidFill>
                  <a:schemeClr val="accent2"/>
                </a:solidFill>
              </a:rPr>
              <a:t>HEDIS</a:t>
            </a:r>
            <a:r>
              <a:rPr lang="en-US" sz="800" b="1" dirty="0">
                <a:solidFill>
                  <a:schemeClr val="accent2"/>
                </a:solidFill>
              </a:rPr>
              <a:t> specification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4873E1-19B4-4320-AB33-16C1A9770F47}"/>
              </a:ext>
            </a:extLst>
          </p:cNvPr>
          <p:cNvSpPr/>
          <p:nvPr/>
        </p:nvSpPr>
        <p:spPr>
          <a:xfrm>
            <a:off x="1402236" y="1082695"/>
            <a:ext cx="1627879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Cotiviti issues input files specifications</a:t>
            </a: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1C6AC2A5-709F-9647-A5EB-804F5843D1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8" y="230436"/>
            <a:ext cx="11163301" cy="640303"/>
          </a:xfrm>
        </p:spPr>
        <p:txBody>
          <a:bodyPr/>
          <a:lstStyle/>
          <a:p>
            <a:r>
              <a:rPr lang="en-US" dirty="0"/>
              <a:t>Workflow</a:t>
            </a:r>
            <a:r>
              <a:rPr lang="en-US" b="1" dirty="0"/>
              <a:t> (Quality Intelligence)</a:t>
            </a:r>
          </a:p>
        </p:txBody>
      </p:sp>
      <p:sp>
        <p:nvSpPr>
          <p:cNvPr id="63" name="Rectangle: Rounded Corners 2">
            <a:extLst>
              <a:ext uri="{FF2B5EF4-FFF2-40B4-BE49-F238E27FC236}">
                <a16:creationId xmlns:a16="http://schemas.microsoft.com/office/drawing/2014/main" id="{EABF19F1-569E-4D46-8226-8C711253494F}"/>
              </a:ext>
            </a:extLst>
          </p:cNvPr>
          <p:cNvSpPr/>
          <p:nvPr/>
        </p:nvSpPr>
        <p:spPr>
          <a:xfrm>
            <a:off x="412549" y="4943767"/>
            <a:ext cx="1505107" cy="90727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accent2"/>
                </a:solidFill>
              </a:rPr>
              <a:t>Client receives</a:t>
            </a:r>
          </a:p>
          <a:p>
            <a:r>
              <a:rPr lang="en-US" sz="1000" dirty="0" err="1">
                <a:solidFill>
                  <a:schemeClr val="accent2"/>
                </a:solidFill>
              </a:rPr>
              <a:t>PLDs</a:t>
            </a:r>
            <a:r>
              <a:rPr lang="en-US" sz="1000" dirty="0">
                <a:solidFill>
                  <a:schemeClr val="accent2"/>
                </a:solidFill>
              </a:rPr>
              <a:t>,</a:t>
            </a:r>
          </a:p>
          <a:p>
            <a:r>
              <a:rPr lang="en-US" sz="1000" dirty="0" err="1">
                <a:solidFill>
                  <a:schemeClr val="accent2"/>
                </a:solidFill>
              </a:rPr>
              <a:t>CAHPS</a:t>
            </a:r>
            <a:r>
              <a:rPr lang="en-US" sz="1000" dirty="0">
                <a:solidFill>
                  <a:schemeClr val="accent2"/>
                </a:solidFill>
              </a:rPr>
              <a:t>,</a:t>
            </a:r>
          </a:p>
          <a:p>
            <a:r>
              <a:rPr lang="en-US" sz="1000" dirty="0" err="1">
                <a:solidFill>
                  <a:schemeClr val="accent2"/>
                </a:solidFill>
              </a:rPr>
              <a:t>IDSS</a:t>
            </a:r>
            <a:endParaRPr lang="en-US" sz="1000" dirty="0">
              <a:solidFill>
                <a:schemeClr val="accent2"/>
              </a:solidFill>
            </a:endParaRPr>
          </a:p>
          <a:p>
            <a:pPr algn="ctr"/>
            <a:r>
              <a:rPr lang="en-US" sz="1000" dirty="0">
                <a:solidFill>
                  <a:schemeClr val="accent2"/>
                </a:solidFill>
              </a:rPr>
              <a:t> via </a:t>
            </a:r>
            <a:r>
              <a:rPr lang="en-US" sz="1000" b="1" dirty="0">
                <a:solidFill>
                  <a:schemeClr val="accent2"/>
                </a:solidFill>
              </a:rPr>
              <a:t>SFTP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15B4037-E027-8249-8AFD-9F79FDF988E2}"/>
              </a:ext>
            </a:extLst>
          </p:cNvPr>
          <p:cNvSpPr/>
          <p:nvPr/>
        </p:nvSpPr>
        <p:spPr>
          <a:xfrm>
            <a:off x="3200556" y="1082694"/>
            <a:ext cx="1627879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accent6">
                    <a:lumMod val="25000"/>
                  </a:schemeClr>
                </a:solidFill>
              </a:rPr>
              <a:t>Input files</a:t>
            </a:r>
          </a:p>
          <a:p>
            <a:pPr algn="ctr"/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Client provides data via </a:t>
            </a:r>
            <a:r>
              <a:rPr lang="en-US" sz="1000" b="1" dirty="0">
                <a:solidFill>
                  <a:schemeClr val="accent6">
                    <a:lumMod val="25000"/>
                  </a:schemeClr>
                </a:solidFill>
              </a:rPr>
              <a:t>SFTP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3A8CD78-5FA3-E144-970F-59108C56500E}"/>
              </a:ext>
            </a:extLst>
          </p:cNvPr>
          <p:cNvSpPr/>
          <p:nvPr/>
        </p:nvSpPr>
        <p:spPr>
          <a:xfrm>
            <a:off x="4998876" y="1082693"/>
            <a:ext cx="1627879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accent6">
                    <a:lumMod val="25000"/>
                  </a:schemeClr>
                </a:solidFill>
              </a:rPr>
              <a:t>Data Audit Tool </a:t>
            </a:r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validation of input file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2650A52-E733-7C49-8580-B333148EE834}"/>
              </a:ext>
            </a:extLst>
          </p:cNvPr>
          <p:cNvSpPr/>
          <p:nvPr/>
        </p:nvSpPr>
        <p:spPr>
          <a:xfrm>
            <a:off x="3200556" y="2611124"/>
            <a:ext cx="1627879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accent6">
                    <a:lumMod val="25000"/>
                  </a:schemeClr>
                </a:solidFill>
              </a:rPr>
              <a:t>Admin update</a:t>
            </a:r>
          </a:p>
          <a:p>
            <a:pPr algn="ctr"/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Client provides additional data via </a:t>
            </a:r>
            <a:r>
              <a:rPr lang="en-US" sz="1000" b="1" dirty="0">
                <a:solidFill>
                  <a:schemeClr val="accent6">
                    <a:lumMod val="25000"/>
                  </a:schemeClr>
                </a:solidFill>
              </a:rPr>
              <a:t>SFTP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4F10CF2-2972-524E-9029-2A29601D0D63}"/>
              </a:ext>
            </a:extLst>
          </p:cNvPr>
          <p:cNvSpPr/>
          <p:nvPr/>
        </p:nvSpPr>
        <p:spPr>
          <a:xfrm>
            <a:off x="6797195" y="1082692"/>
            <a:ext cx="1627879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accent6">
                    <a:lumMod val="25000"/>
                  </a:schemeClr>
                </a:solidFill>
              </a:rPr>
              <a:t>Quality Engine or Automation </a:t>
            </a:r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Creation of </a:t>
            </a:r>
            <a:r>
              <a:rPr lang="en-US" sz="1000" dirty="0" err="1">
                <a:solidFill>
                  <a:schemeClr val="accent6">
                    <a:lumMod val="25000"/>
                  </a:schemeClr>
                </a:solidFill>
              </a:rPr>
              <a:t>HEDIS</a:t>
            </a:r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 DataMart 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3BF34FB-904C-4242-A973-E3C832EA70C9}"/>
              </a:ext>
            </a:extLst>
          </p:cNvPr>
          <p:cNvSpPr/>
          <p:nvPr/>
        </p:nvSpPr>
        <p:spPr>
          <a:xfrm>
            <a:off x="8595516" y="1082692"/>
            <a:ext cx="1627879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accent6">
                    <a:lumMod val="25000"/>
                  </a:schemeClr>
                </a:solidFill>
              </a:rPr>
              <a:t>Quality Engine</a:t>
            </a:r>
          </a:p>
          <a:p>
            <a:pPr algn="ctr"/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Initialization of DataMart, Prelims processing, Measures calculation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C6FFCAC-EE8C-1448-8853-38C8F2AB2D74}"/>
              </a:ext>
            </a:extLst>
          </p:cNvPr>
          <p:cNvSpPr/>
          <p:nvPr/>
        </p:nvSpPr>
        <p:spPr>
          <a:xfrm>
            <a:off x="10393836" y="1082692"/>
            <a:ext cx="1627879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accent6">
                    <a:lumMod val="25000"/>
                  </a:schemeClr>
                </a:solidFill>
              </a:rPr>
              <a:t>Quality Reporter </a:t>
            </a:r>
            <a:br>
              <a:rPr lang="en-US" sz="1000" b="1" dirty="0">
                <a:solidFill>
                  <a:schemeClr val="accent6">
                    <a:lumMod val="25000"/>
                  </a:schemeClr>
                </a:solidFill>
              </a:rPr>
            </a:br>
            <a:r>
              <a:rPr lang="en-US" sz="1000" dirty="0" err="1">
                <a:solidFill>
                  <a:schemeClr val="accent6">
                    <a:lumMod val="25000"/>
                  </a:schemeClr>
                </a:solidFill>
              </a:rPr>
              <a:t>HEDIS</a:t>
            </a:r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 DataMart verification 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D3B1EFF-0675-FD4C-8B45-D96812C48156}"/>
              </a:ext>
            </a:extLst>
          </p:cNvPr>
          <p:cNvSpPr/>
          <p:nvPr/>
        </p:nvSpPr>
        <p:spPr>
          <a:xfrm>
            <a:off x="6797195" y="2611123"/>
            <a:ext cx="1627879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accent6">
                    <a:lumMod val="25000"/>
                  </a:schemeClr>
                </a:solidFill>
              </a:rPr>
              <a:t>Admin update</a:t>
            </a:r>
          </a:p>
          <a:p>
            <a:pPr algn="ctr"/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Applying samples &amp; chases </a:t>
            </a:r>
          </a:p>
          <a:p>
            <a:pPr algn="ctr"/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on updated data 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E0C69F-7AF1-DD4F-8876-E952BB175CC4}"/>
              </a:ext>
            </a:extLst>
          </p:cNvPr>
          <p:cNvSpPr/>
          <p:nvPr/>
        </p:nvSpPr>
        <p:spPr>
          <a:xfrm>
            <a:off x="6797195" y="4143365"/>
            <a:ext cx="1627879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accent6">
                    <a:lumMod val="25000"/>
                  </a:schemeClr>
                </a:solidFill>
              </a:rPr>
              <a:t>Quality Reporter</a:t>
            </a:r>
            <a:endParaRPr lang="en-US" sz="1000" dirty="0">
              <a:solidFill>
                <a:schemeClr val="accent6">
                  <a:lumMod val="25000"/>
                </a:schemeClr>
              </a:solidFill>
            </a:endParaRPr>
          </a:p>
          <a:p>
            <a:pPr algn="ctr"/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Client performs data review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05FD6EB-2AE5-254D-99E5-C67937B1AB21}"/>
              </a:ext>
            </a:extLst>
          </p:cNvPr>
          <p:cNvSpPr/>
          <p:nvPr/>
        </p:nvSpPr>
        <p:spPr>
          <a:xfrm>
            <a:off x="8595516" y="4143365"/>
            <a:ext cx="1627879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accent6">
                    <a:lumMod val="25000"/>
                  </a:schemeClr>
                </a:solidFill>
              </a:rPr>
              <a:t>Quality Engine</a:t>
            </a:r>
          </a:p>
          <a:p>
            <a:pPr algn="ctr"/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Samples creation</a:t>
            </a:r>
            <a:br>
              <a:rPr lang="en-US" sz="1000" dirty="0">
                <a:solidFill>
                  <a:schemeClr val="accent6">
                    <a:lumMod val="25000"/>
                  </a:schemeClr>
                </a:solidFill>
              </a:rPr>
            </a:br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Chases creation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E40E66DA-8E55-314A-BA29-FF6A553D901B}"/>
              </a:ext>
            </a:extLst>
          </p:cNvPr>
          <p:cNvSpPr/>
          <p:nvPr/>
        </p:nvSpPr>
        <p:spPr>
          <a:xfrm>
            <a:off x="4365717" y="3704328"/>
            <a:ext cx="2261036" cy="164164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Quality Reporter</a:t>
            </a:r>
            <a:endParaRPr lang="en-US" sz="1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r>
              <a:rPr lang="en-US" sz="10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Medical Record </a:t>
            </a:r>
            <a:br>
              <a:rPr lang="en-US" sz="1000" dirty="0">
                <a:solidFill>
                  <a:schemeClr val="accent2"/>
                </a:solidFill>
              </a:rPr>
            </a:br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     </a:t>
            </a:r>
            <a:r>
              <a:rPr lang="en-US" sz="1000" b="1" dirty="0">
                <a:ln w="0"/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bstraction</a:t>
            </a:r>
            <a:endParaRPr lang="en-US" sz="1000" b="1" dirty="0">
              <a:ln>
                <a:gradFill flip="none" rotWithShape="1">
                  <a:gsLst>
                    <a:gs pos="21000">
                      <a:schemeClr val="accent1">
                        <a:lumMod val="5000"/>
                        <a:lumOff val="95000"/>
                      </a:schemeClr>
                    </a:gs>
                    <a:gs pos="92000">
                      <a:srgbClr val="7030A0"/>
                    </a:gs>
                  </a:gsLst>
                  <a:lin ang="5400000" scaled="1"/>
                  <a:tileRect/>
                </a:gradFill>
              </a:ln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r>
              <a:rPr lang="en-US" sz="1000" dirty="0">
                <a:ln>
                  <a:gradFill flip="none" rotWithShape="1">
                    <a:gsLst>
                      <a:gs pos="21000">
                        <a:schemeClr val="accent1">
                          <a:lumMod val="5000"/>
                          <a:lumOff val="95000"/>
                        </a:schemeClr>
                      </a:gs>
                      <a:gs pos="92000">
                        <a:srgbClr val="7030A0"/>
                      </a:gs>
                    </a:gsLst>
                    <a:lin ang="5400000" scaled="1"/>
                    <a:tileRect/>
                  </a:gradFill>
                </a:ln>
                <a:solidFill>
                  <a:schemeClr val="accent6">
                    <a:lumMod val="25000"/>
                  </a:schemeClr>
                </a:solidFill>
              </a:rPr>
              <a:t>     </a:t>
            </a:r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Sync Box data ops</a:t>
            </a:r>
            <a:br>
              <a:rPr lang="en-US" sz="1000" dirty="0">
                <a:solidFill>
                  <a:schemeClr val="accent6">
                    <a:lumMod val="25000"/>
                  </a:schemeClr>
                </a:solidFill>
              </a:rPr>
            </a:br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     Overread</a:t>
            </a:r>
            <a:br>
              <a:rPr lang="en-US" sz="1000" dirty="0">
                <a:solidFill>
                  <a:schemeClr val="accent6">
                    <a:lumMod val="25000"/>
                  </a:schemeClr>
                </a:solidFill>
              </a:rPr>
            </a:br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     QA</a:t>
            </a:r>
          </a:p>
          <a:p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Samples closure</a:t>
            </a:r>
          </a:p>
          <a:p>
            <a:r>
              <a:rPr lang="en-US" sz="1000" dirty="0">
                <a:solidFill>
                  <a:schemeClr val="accent6">
                    <a:lumMod val="25000"/>
                  </a:schemeClr>
                </a:solidFill>
              </a:rPr>
              <a:t>Chases closur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3A748584-A108-E84E-8113-8D2EC215147B}"/>
              </a:ext>
            </a:extLst>
          </p:cNvPr>
          <p:cNvSpPr/>
          <p:nvPr/>
        </p:nvSpPr>
        <p:spPr>
          <a:xfrm>
            <a:off x="4682293" y="5570873"/>
            <a:ext cx="1627879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Rapid</a:t>
            </a:r>
          </a:p>
          <a:p>
            <a:pPr algn="ctr"/>
            <a:r>
              <a:rPr lang="en-US" sz="10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Medical Record Retrieval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6FDADB5-0416-8B4E-90A7-7CC4053A5AE3}"/>
              </a:ext>
            </a:extLst>
          </p:cNvPr>
          <p:cNvSpPr/>
          <p:nvPr/>
        </p:nvSpPr>
        <p:spPr>
          <a:xfrm>
            <a:off x="2216175" y="4143365"/>
            <a:ext cx="1627879" cy="763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accent6">
                    <a:lumMod val="25000"/>
                  </a:schemeClr>
                </a:solidFill>
              </a:rPr>
              <a:t>Quality Reporter</a:t>
            </a:r>
          </a:p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ata extractions</a:t>
            </a:r>
            <a:br>
              <a:rPr lang="en-US" sz="900" dirty="0">
                <a:solidFill>
                  <a:schemeClr val="accent2"/>
                </a:solidFill>
              </a:rPr>
            </a:br>
            <a:r>
              <a:rPr lang="en-US" sz="900" dirty="0">
                <a:solidFill>
                  <a:schemeClr val="accent6">
                    <a:lumMod val="25000"/>
                  </a:schemeClr>
                </a:solidFill>
              </a:rPr>
              <a:t>Product Summary</a:t>
            </a:r>
            <a:br>
              <a:rPr lang="en-US" sz="900" dirty="0">
                <a:solidFill>
                  <a:schemeClr val="accent6">
                    <a:lumMod val="25000"/>
                  </a:schemeClr>
                </a:solidFill>
              </a:rPr>
            </a:br>
            <a:r>
              <a:rPr lang="en-US" sz="900" dirty="0">
                <a:solidFill>
                  <a:schemeClr val="accent6">
                    <a:lumMod val="25000"/>
                  </a:schemeClr>
                </a:solidFill>
              </a:rPr>
              <a:t>Chart Review</a:t>
            </a:r>
            <a:br>
              <a:rPr lang="en-US" sz="900" dirty="0">
                <a:solidFill>
                  <a:schemeClr val="accent6">
                    <a:lumMod val="25000"/>
                  </a:schemeClr>
                </a:solidFill>
              </a:rPr>
            </a:br>
            <a:r>
              <a:rPr lang="en-US" sz="900" dirty="0">
                <a:solidFill>
                  <a:schemeClr val="accent6">
                    <a:lumMod val="25000"/>
                  </a:schemeClr>
                </a:solidFill>
              </a:rPr>
              <a:t>Goals &amp; Benchmark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71DE4F2-9483-0749-97DC-9D4CD2E06F63}"/>
              </a:ext>
            </a:extLst>
          </p:cNvPr>
          <p:cNvGrpSpPr/>
          <p:nvPr/>
        </p:nvGrpSpPr>
        <p:grpSpPr>
          <a:xfrm>
            <a:off x="10337792" y="2450347"/>
            <a:ext cx="1736388" cy="1085125"/>
            <a:chOff x="10392903" y="1993149"/>
            <a:chExt cx="1736388" cy="1085125"/>
          </a:xfrm>
        </p:grpSpPr>
        <p:sp>
          <p:nvSpPr>
            <p:cNvPr id="9" name="Diamond 8">
              <a:extLst>
                <a:ext uri="{FF2B5EF4-FFF2-40B4-BE49-F238E27FC236}">
                  <a16:creationId xmlns:a16="http://schemas.microsoft.com/office/drawing/2014/main" id="{7FBCF27B-06F7-4AF4-A910-60CC1DC6FBD1}"/>
                </a:ext>
              </a:extLst>
            </p:cNvPr>
            <p:cNvSpPr/>
            <p:nvPr/>
          </p:nvSpPr>
          <p:spPr>
            <a:xfrm>
              <a:off x="10392903" y="1993149"/>
              <a:ext cx="1736388" cy="1085125"/>
            </a:xfrm>
            <a:prstGeom prst="diamond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accent1"/>
                </a:solidFill>
              </a:endParaRP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F1F695E1-AA91-F64C-BC2C-FAD6DBE4962E}"/>
                </a:ext>
              </a:extLst>
            </p:cNvPr>
            <p:cNvSpPr txBox="1"/>
            <p:nvPr/>
          </p:nvSpPr>
          <p:spPr>
            <a:xfrm>
              <a:off x="10732180" y="2086321"/>
              <a:ext cx="1057834" cy="627117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sz="900" b="1" dirty="0">
                  <a:solidFill>
                    <a:schemeClr val="accent6">
                      <a:lumMod val="25000"/>
                    </a:schemeClr>
                  </a:solidFill>
                </a:rPr>
                <a:t>Quality Reporter</a:t>
              </a:r>
              <a:endParaRPr lang="en-US" sz="900" dirty="0">
                <a:solidFill>
                  <a:schemeClr val="accent6">
                    <a:lumMod val="25000"/>
                  </a:schemeClr>
                </a:solidFill>
              </a:endParaRPr>
            </a:p>
            <a:p>
              <a:pPr algn="ctr"/>
              <a:r>
                <a:rPr lang="en-US" sz="900" dirty="0">
                  <a:solidFill>
                    <a:schemeClr val="accent6">
                      <a:lumMod val="25000"/>
                    </a:schemeClr>
                  </a:solidFill>
                </a:rPr>
                <a:t>Client gets access to</a:t>
              </a:r>
              <a:br>
                <a:rPr lang="en-US" sz="900" b="1" dirty="0">
                  <a:solidFill>
                    <a:schemeClr val="accent6">
                      <a:lumMod val="25000"/>
                    </a:schemeClr>
                  </a:solidFill>
                </a:rPr>
              </a:br>
              <a:r>
                <a:rPr lang="en-US" sz="900" dirty="0" err="1">
                  <a:solidFill>
                    <a:schemeClr val="accent6">
                      <a:lumMod val="25000"/>
                    </a:schemeClr>
                  </a:solidFill>
                </a:rPr>
                <a:t>HEDIS</a:t>
              </a:r>
              <a:r>
                <a:rPr lang="en-US" sz="900" dirty="0">
                  <a:solidFill>
                    <a:schemeClr val="accent6">
                      <a:lumMod val="25000"/>
                    </a:schemeClr>
                  </a:solidFill>
                </a:rPr>
                <a:t> DataMart</a:t>
              </a:r>
            </a:p>
          </p:txBody>
        </p:sp>
      </p:grp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EBC66D8-AE60-4D44-8AEB-FFDB4132F0D2}"/>
              </a:ext>
            </a:extLst>
          </p:cNvPr>
          <p:cNvCxnSpPr>
            <a:cxnSpLocks/>
            <a:stCxn id="3" idx="3"/>
            <a:endCxn id="6" idx="1"/>
          </p:cNvCxnSpPr>
          <p:nvPr/>
        </p:nvCxnSpPr>
        <p:spPr>
          <a:xfrm>
            <a:off x="1165102" y="1464481"/>
            <a:ext cx="237134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9B6CC0BC-6F08-9046-B223-7437CEF32005}"/>
              </a:ext>
            </a:extLst>
          </p:cNvPr>
          <p:cNvCxnSpPr>
            <a:stCxn id="6" idx="3"/>
            <a:endCxn id="44" idx="1"/>
          </p:cNvCxnSpPr>
          <p:nvPr/>
        </p:nvCxnSpPr>
        <p:spPr>
          <a:xfrm flipV="1">
            <a:off x="3030115" y="1464480"/>
            <a:ext cx="170441" cy="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901D6C83-E028-3A44-B171-B0822B614A47}"/>
              </a:ext>
            </a:extLst>
          </p:cNvPr>
          <p:cNvCxnSpPr>
            <a:stCxn id="44" idx="3"/>
            <a:endCxn id="45" idx="1"/>
          </p:cNvCxnSpPr>
          <p:nvPr/>
        </p:nvCxnSpPr>
        <p:spPr>
          <a:xfrm flipV="1">
            <a:off x="4828435" y="1464479"/>
            <a:ext cx="170441" cy="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140696BB-15B1-A04F-BD2E-D2E1DA64F1BE}"/>
              </a:ext>
            </a:extLst>
          </p:cNvPr>
          <p:cNvCxnSpPr>
            <a:stCxn id="45" idx="3"/>
            <a:endCxn id="48" idx="1"/>
          </p:cNvCxnSpPr>
          <p:nvPr/>
        </p:nvCxnSpPr>
        <p:spPr>
          <a:xfrm flipV="1">
            <a:off x="6626755" y="1464478"/>
            <a:ext cx="170440" cy="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A85E92E3-A64F-984D-91F1-90C11E6A614C}"/>
              </a:ext>
            </a:extLst>
          </p:cNvPr>
          <p:cNvCxnSpPr>
            <a:stCxn id="48" idx="3"/>
            <a:endCxn id="49" idx="1"/>
          </p:cNvCxnSpPr>
          <p:nvPr/>
        </p:nvCxnSpPr>
        <p:spPr>
          <a:xfrm>
            <a:off x="8425074" y="1464478"/>
            <a:ext cx="170442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ACE55E2C-244E-C747-93E7-44C9E813C380}"/>
              </a:ext>
            </a:extLst>
          </p:cNvPr>
          <p:cNvCxnSpPr>
            <a:stCxn id="49" idx="3"/>
            <a:endCxn id="50" idx="1"/>
          </p:cNvCxnSpPr>
          <p:nvPr/>
        </p:nvCxnSpPr>
        <p:spPr>
          <a:xfrm>
            <a:off x="10223395" y="1464478"/>
            <a:ext cx="170441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B4E8C8D6-7902-E94D-AA6B-29A21C8B9185}"/>
              </a:ext>
            </a:extLst>
          </p:cNvPr>
          <p:cNvCxnSpPr>
            <a:stCxn id="50" idx="2"/>
            <a:endCxn id="9" idx="0"/>
          </p:cNvCxnSpPr>
          <p:nvPr/>
        </p:nvCxnSpPr>
        <p:spPr>
          <a:xfrm flipH="1">
            <a:off x="11205986" y="1846263"/>
            <a:ext cx="1790" cy="604084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C06C764B-5B2B-7B4D-BA3D-773E4BBDCA29}"/>
              </a:ext>
            </a:extLst>
          </p:cNvPr>
          <p:cNvCxnSpPr>
            <a:stCxn id="9" idx="1"/>
            <a:endCxn id="51" idx="3"/>
          </p:cNvCxnSpPr>
          <p:nvPr/>
        </p:nvCxnSpPr>
        <p:spPr>
          <a:xfrm flipH="1" flipV="1">
            <a:off x="8425074" y="2992909"/>
            <a:ext cx="1912718" cy="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0FF8B42A-62E4-6F4D-A81D-77BF7757CE5E}"/>
              </a:ext>
            </a:extLst>
          </p:cNvPr>
          <p:cNvCxnSpPr>
            <a:stCxn id="51" idx="2"/>
            <a:endCxn id="52" idx="0"/>
          </p:cNvCxnSpPr>
          <p:nvPr/>
        </p:nvCxnSpPr>
        <p:spPr>
          <a:xfrm>
            <a:off x="7611135" y="3374694"/>
            <a:ext cx="0" cy="76867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2057317-E6C4-EE4D-BD1C-8AE6C18CC576}"/>
              </a:ext>
            </a:extLst>
          </p:cNvPr>
          <p:cNvCxnSpPr>
            <a:stCxn id="53" idx="1"/>
            <a:endCxn id="52" idx="3"/>
          </p:cNvCxnSpPr>
          <p:nvPr/>
        </p:nvCxnSpPr>
        <p:spPr>
          <a:xfrm flipH="1">
            <a:off x="8425074" y="4525151"/>
            <a:ext cx="170442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AB07C352-70A0-B548-92E1-4DD0BB96418B}"/>
              </a:ext>
            </a:extLst>
          </p:cNvPr>
          <p:cNvCxnSpPr>
            <a:stCxn id="52" idx="1"/>
            <a:endCxn id="55" idx="3"/>
          </p:cNvCxnSpPr>
          <p:nvPr/>
        </p:nvCxnSpPr>
        <p:spPr>
          <a:xfrm flipH="1" flipV="1">
            <a:off x="6626753" y="4525150"/>
            <a:ext cx="170442" cy="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ED078832-C0F7-4B44-B656-3E9858366796}"/>
              </a:ext>
            </a:extLst>
          </p:cNvPr>
          <p:cNvCxnSpPr>
            <a:stCxn id="55" idx="1"/>
            <a:endCxn id="60" idx="3"/>
          </p:cNvCxnSpPr>
          <p:nvPr/>
        </p:nvCxnSpPr>
        <p:spPr>
          <a:xfrm flipH="1">
            <a:off x="3844054" y="4525150"/>
            <a:ext cx="521663" cy="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8611F5BE-4F71-BB47-8AB0-E0DCCB3E4BE0}"/>
              </a:ext>
            </a:extLst>
          </p:cNvPr>
          <p:cNvCxnSpPr>
            <a:stCxn id="55" idx="2"/>
            <a:endCxn id="56" idx="0"/>
          </p:cNvCxnSpPr>
          <p:nvPr/>
        </p:nvCxnSpPr>
        <p:spPr>
          <a:xfrm flipH="1">
            <a:off x="5496233" y="5345972"/>
            <a:ext cx="2" cy="224901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headEnd type="arrow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FCD319EF-7B00-164B-A0AC-C3D7C3BBEC9B}"/>
              </a:ext>
            </a:extLst>
          </p:cNvPr>
          <p:cNvCxnSpPr>
            <a:cxnSpLocks/>
          </p:cNvCxnSpPr>
          <p:nvPr/>
        </p:nvCxnSpPr>
        <p:spPr>
          <a:xfrm flipV="1">
            <a:off x="5789357" y="1846263"/>
            <a:ext cx="0" cy="1146646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656A9316-92E0-0E4B-940D-D6FD8C1409B6}"/>
              </a:ext>
            </a:extLst>
          </p:cNvPr>
          <p:cNvCxnSpPr>
            <a:cxnSpLocks/>
            <a:stCxn id="47" idx="3"/>
          </p:cNvCxnSpPr>
          <p:nvPr/>
        </p:nvCxnSpPr>
        <p:spPr>
          <a:xfrm>
            <a:off x="4828435" y="2992910"/>
            <a:ext cx="960922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47A53679-6A88-FA45-98FA-D4FD60BEF782}"/>
              </a:ext>
            </a:extLst>
          </p:cNvPr>
          <p:cNvCxnSpPr>
            <a:cxnSpLocks/>
          </p:cNvCxnSpPr>
          <p:nvPr/>
        </p:nvCxnSpPr>
        <p:spPr>
          <a:xfrm>
            <a:off x="11205986" y="3535472"/>
            <a:ext cx="0" cy="989678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C50B6446-E922-554C-9AF1-68D26F6BBFFC}"/>
              </a:ext>
            </a:extLst>
          </p:cNvPr>
          <p:cNvCxnSpPr>
            <a:cxnSpLocks/>
          </p:cNvCxnSpPr>
          <p:nvPr/>
        </p:nvCxnSpPr>
        <p:spPr>
          <a:xfrm flipH="1">
            <a:off x="10223396" y="4525150"/>
            <a:ext cx="982590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B0087F64-8C6B-B343-8DDE-7A8D8BB769BC}"/>
              </a:ext>
            </a:extLst>
          </p:cNvPr>
          <p:cNvCxnSpPr>
            <a:cxnSpLocks/>
          </p:cNvCxnSpPr>
          <p:nvPr/>
        </p:nvCxnSpPr>
        <p:spPr>
          <a:xfrm>
            <a:off x="1165102" y="4525150"/>
            <a:ext cx="0" cy="413998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DCE7B9B8-3DA2-684F-AEF5-7DF5A3EF0887}"/>
              </a:ext>
            </a:extLst>
          </p:cNvPr>
          <p:cNvCxnSpPr>
            <a:cxnSpLocks/>
          </p:cNvCxnSpPr>
          <p:nvPr/>
        </p:nvCxnSpPr>
        <p:spPr>
          <a:xfrm flipH="1">
            <a:off x="1165102" y="4525150"/>
            <a:ext cx="1051074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18077DF4-2261-264E-BA1C-1AFBD97532A7}"/>
              </a:ext>
            </a:extLst>
          </p:cNvPr>
          <p:cNvGrpSpPr/>
          <p:nvPr/>
        </p:nvGrpSpPr>
        <p:grpSpPr>
          <a:xfrm>
            <a:off x="10841033" y="5514828"/>
            <a:ext cx="1180682" cy="750473"/>
            <a:chOff x="10809746" y="5286134"/>
            <a:chExt cx="1180682" cy="750473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86D2D37A-F846-8C49-8312-379E24AB0CEE}"/>
                </a:ext>
              </a:extLst>
            </p:cNvPr>
            <p:cNvSpPr/>
            <p:nvPr/>
          </p:nvSpPr>
          <p:spPr>
            <a:xfrm>
              <a:off x="10826447" y="5515649"/>
              <a:ext cx="110448" cy="110448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2C5BF393-4D00-084A-AD46-8BECC8D09395}"/>
                </a:ext>
              </a:extLst>
            </p:cNvPr>
            <p:cNvSpPr/>
            <p:nvPr/>
          </p:nvSpPr>
          <p:spPr>
            <a:xfrm>
              <a:off x="10826447" y="5720699"/>
              <a:ext cx="110448" cy="110448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D6A95855-DA00-1542-A162-74453586EC57}"/>
                </a:ext>
              </a:extLst>
            </p:cNvPr>
            <p:cNvSpPr txBox="1"/>
            <p:nvPr/>
          </p:nvSpPr>
          <p:spPr>
            <a:xfrm>
              <a:off x="10936895" y="5515239"/>
              <a:ext cx="1053533" cy="11126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l"/>
              <a:r>
                <a:rPr lang="en-US" sz="1050" dirty="0">
                  <a:solidFill>
                    <a:schemeClr val="bg2">
                      <a:lumMod val="50000"/>
                    </a:schemeClr>
                  </a:solidFill>
                </a:rPr>
                <a:t>Legend Key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263985F5-7A3E-F04B-9B81-DA4A5529ED7B}"/>
                </a:ext>
              </a:extLst>
            </p:cNvPr>
            <p:cNvSpPr txBox="1"/>
            <p:nvPr/>
          </p:nvSpPr>
          <p:spPr>
            <a:xfrm>
              <a:off x="10936895" y="5720289"/>
              <a:ext cx="1053533" cy="11126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l"/>
              <a:r>
                <a:rPr lang="en-US" sz="1050" dirty="0">
                  <a:solidFill>
                    <a:schemeClr val="bg2">
                      <a:lumMod val="50000"/>
                    </a:schemeClr>
                  </a:solidFill>
                </a:rPr>
                <a:t>Legend Key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7F6625E2-8C09-214B-B5EE-D05C4A1E3F01}"/>
                </a:ext>
              </a:extLst>
            </p:cNvPr>
            <p:cNvSpPr txBox="1"/>
            <p:nvPr/>
          </p:nvSpPr>
          <p:spPr>
            <a:xfrm>
              <a:off x="10936895" y="5925339"/>
              <a:ext cx="1053533" cy="11126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l"/>
              <a:r>
                <a:rPr lang="en-US" sz="1050" dirty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Legend Key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0EC95844-B5CC-114C-A34E-9090A5834842}"/>
                </a:ext>
              </a:extLst>
            </p:cNvPr>
            <p:cNvSpPr txBox="1"/>
            <p:nvPr/>
          </p:nvSpPr>
          <p:spPr>
            <a:xfrm>
              <a:off x="10809746" y="5286134"/>
              <a:ext cx="1053533" cy="11126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86262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848C4-7079-E84F-9476-7B4DCB0CB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5B67AB-4D0A-DB46-BDD3-8E63456CBF3D}" type="slidenum">
              <a:rPr lang="en-US" smtClean="0"/>
              <a:t>7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E12BC4B-1802-9D48-A89B-649BA5E4FC96}"/>
              </a:ext>
            </a:extLst>
          </p:cNvPr>
          <p:cNvSpPr txBox="1">
            <a:spLocks/>
          </p:cNvSpPr>
          <p:nvPr/>
        </p:nvSpPr>
        <p:spPr>
          <a:xfrm>
            <a:off x="571498" y="230436"/>
            <a:ext cx="11163301" cy="64030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Questions &amp; </a:t>
            </a:r>
            <a:r>
              <a:rPr lang="en-US" b="1" dirty="0"/>
              <a:t>Assistan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EE2105-A28C-C844-ACFF-80C29C1B6003}"/>
              </a:ext>
            </a:extLst>
          </p:cNvPr>
          <p:cNvSpPr txBox="1"/>
          <p:nvPr/>
        </p:nvSpPr>
        <p:spPr>
          <a:xfrm>
            <a:off x="780406" y="1678403"/>
            <a:ext cx="5315594" cy="244174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6">
                    <a:lumMod val="25000"/>
                  </a:schemeClr>
                </a:solidFill>
              </a:rPr>
              <a:t>If you need any assistance, please feel free to reach out </a:t>
            </a:r>
            <a:r>
              <a:rPr lang="en-US" sz="1400" dirty="0">
                <a:solidFill>
                  <a:schemeClr val="accent6">
                    <a:lumMod val="25000"/>
                  </a:schemeClr>
                </a:solidFill>
              </a:rPr>
              <a:t>to Jim Bowman or Brylan Levisto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6">
                    <a:lumMod val="25000"/>
                  </a:schemeClr>
                </a:solidFill>
              </a:rPr>
              <a:t>We will send regular notifications to remind team members</a:t>
            </a:r>
            <a:r>
              <a:rPr lang="en-US" sz="1400" dirty="0">
                <a:solidFill>
                  <a:schemeClr val="accent6">
                    <a:lumMod val="25000"/>
                  </a:schemeClr>
                </a:solidFill>
              </a:rPr>
              <a:t> of upcoming deadlines or specific requests/addition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433FBC-A495-284E-9306-949A8CA80DFD}"/>
              </a:ext>
            </a:extLst>
          </p:cNvPr>
          <p:cNvSpPr txBox="1"/>
          <p:nvPr/>
        </p:nvSpPr>
        <p:spPr>
          <a:xfrm>
            <a:off x="780406" y="1243061"/>
            <a:ext cx="4387620" cy="4353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b="1" dirty="0">
                <a:solidFill>
                  <a:schemeClr val="accent1"/>
                </a:solidFill>
              </a:rPr>
              <a:t>Notifications &amp; </a:t>
            </a:r>
            <a:r>
              <a:rPr lang="en-US" b="1" dirty="0" err="1">
                <a:solidFill>
                  <a:schemeClr val="accent1"/>
                </a:solidFill>
              </a:rPr>
              <a:t>Assitance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213503E-62C8-6D4E-A444-760325EDB524}"/>
              </a:ext>
            </a:extLst>
          </p:cNvPr>
          <p:cNvSpPr txBox="1"/>
          <p:nvPr/>
        </p:nvSpPr>
        <p:spPr>
          <a:xfrm>
            <a:off x="6419205" y="1678403"/>
            <a:ext cx="5315594" cy="244174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6">
                    <a:lumMod val="25000"/>
                  </a:schemeClr>
                </a:solidFill>
              </a:rPr>
              <a:t>November 1</a:t>
            </a:r>
            <a:r>
              <a:rPr lang="en-US" sz="1400" b="1" baseline="30000" dirty="0">
                <a:solidFill>
                  <a:schemeClr val="accent6">
                    <a:lumMod val="25000"/>
                  </a:schemeClr>
                </a:solidFill>
              </a:rPr>
              <a:t>st</a:t>
            </a:r>
            <a:r>
              <a:rPr lang="en-US" sz="1400" b="1" dirty="0">
                <a:solidFill>
                  <a:schemeClr val="accent6">
                    <a:lumMod val="25000"/>
                  </a:schemeClr>
                </a:solidFill>
              </a:rPr>
              <a:t>, 2021 –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6">
                    <a:lumMod val="25000"/>
                  </a:schemeClr>
                </a:solidFill>
              </a:rPr>
              <a:t>November 15</a:t>
            </a:r>
            <a:r>
              <a:rPr lang="en-US" sz="1400" b="1" baseline="30000" dirty="0">
                <a:solidFill>
                  <a:schemeClr val="accent6">
                    <a:lumMod val="25000"/>
                  </a:schemeClr>
                </a:solidFill>
              </a:rPr>
              <a:t>th</a:t>
            </a:r>
            <a:r>
              <a:rPr lang="en-US" sz="1400" b="1" dirty="0">
                <a:solidFill>
                  <a:schemeClr val="accent6">
                    <a:lumMod val="25000"/>
                  </a:schemeClr>
                </a:solidFill>
              </a:rPr>
              <a:t>, 2021 –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6">
                    <a:lumMod val="25000"/>
                  </a:schemeClr>
                </a:solidFill>
              </a:rPr>
              <a:t>November 30</a:t>
            </a:r>
            <a:r>
              <a:rPr lang="en-US" sz="1400" b="1" baseline="30000" dirty="0">
                <a:solidFill>
                  <a:schemeClr val="accent6">
                    <a:lumMod val="25000"/>
                  </a:schemeClr>
                </a:solidFill>
              </a:rPr>
              <a:t>th</a:t>
            </a:r>
            <a:r>
              <a:rPr lang="en-US" sz="1400" b="1" dirty="0">
                <a:solidFill>
                  <a:schemeClr val="accent6">
                    <a:lumMod val="25000"/>
                  </a:schemeClr>
                </a:solidFill>
              </a:rPr>
              <a:t>, 2021 - </a:t>
            </a:r>
            <a:endParaRPr lang="en-US" sz="1400" dirty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5CC06AE-999D-F048-BA14-3BAE8BAB1D73}"/>
              </a:ext>
            </a:extLst>
          </p:cNvPr>
          <p:cNvSpPr txBox="1"/>
          <p:nvPr/>
        </p:nvSpPr>
        <p:spPr>
          <a:xfrm>
            <a:off x="6419205" y="1243061"/>
            <a:ext cx="4387620" cy="4353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b="1" dirty="0">
                <a:solidFill>
                  <a:schemeClr val="accent1"/>
                </a:solidFill>
              </a:rPr>
              <a:t>Deadlines &amp; Important Dates</a:t>
            </a:r>
          </a:p>
        </p:txBody>
      </p:sp>
    </p:spTree>
    <p:extLst>
      <p:ext uri="{BB962C8B-B14F-4D97-AF65-F5344CB8AC3E}">
        <p14:creationId xmlns:p14="http://schemas.microsoft.com/office/powerpoint/2010/main" val="28104149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2W1FXoJ52Sd6T6PeGn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ed_S1tUVmtr1yUssMi_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fLH_0AeAoMTHlI0x_w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hUZDDy.lzl_tBWaOaX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Gp8fk0OF3Czihc62m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ipEJMDSVG.iirVDZW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Rsvcw1czzTrqM3DGDW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HhJiVf9OjdwF_yz7ut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bHHTBls_72kgzPt.yriA"/>
</p:tagLst>
</file>

<file path=ppt/theme/theme1.xml><?xml version="1.0" encoding="utf-8"?>
<a:theme xmlns:a="http://schemas.openxmlformats.org/drawingml/2006/main" name="Cotiviti_PPT_Template_4x3_Final">
  <a:themeElements>
    <a:clrScheme name="Custom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0006F"/>
      </a:accent1>
      <a:accent2>
        <a:srgbClr val="EC008C"/>
      </a:accent2>
      <a:accent3>
        <a:srgbClr val="9579D3"/>
      </a:accent3>
      <a:accent4>
        <a:srgbClr val="7C77AD"/>
      </a:accent4>
      <a:accent5>
        <a:srgbClr val="F39AC1"/>
      </a:accent5>
      <a:accent6>
        <a:srgbClr val="C2BFE0"/>
      </a:accent6>
      <a:hlink>
        <a:srgbClr val="0563C1"/>
      </a:hlink>
      <a:folHlink>
        <a:srgbClr val="954F72"/>
      </a:folHlink>
    </a:clrScheme>
    <a:fontScheme name="Mont 2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tandard Corporate Upgrade" id="{70667918-64BF-4E11-9DDC-C3C26BCFACF8}" vid="{AE1C4558-EAB6-4227-AD7F-558EBE8E899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01034FD66BFA342B358474C1B8E0BCA" ma:contentTypeVersion="0" ma:contentTypeDescription="Create a new document." ma:contentTypeScope="" ma:versionID="723b76a5722c3b28e432f30891e66bd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413257cd9829394d17656a545d5fa4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3A8EEF7-4868-4FD0-821E-F889560A897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49A2AAA-C164-467E-995A-99B8ED1A4089}"/>
</file>

<file path=customXml/itemProps3.xml><?xml version="1.0" encoding="utf-8"?>
<ds:datastoreItem xmlns:ds="http://schemas.openxmlformats.org/officeDocument/2006/customXml" ds:itemID="{0A056417-3E61-4AD4-9F05-50F973FD93DA}">
  <ds:schemaRefs>
    <ds:schemaRef ds:uri="http://schemas.microsoft.com/office/infopath/2007/PartnerControls"/>
    <ds:schemaRef ds:uri="http://purl.org/dc/elements/1.1/"/>
    <ds:schemaRef ds:uri="http://purl.org/dc/terms/"/>
    <ds:schemaRef ds:uri="http://purl.org/dc/dcmitype/"/>
    <ds:schemaRef ds:uri="http://schemas.microsoft.com/sharepoint/v3"/>
    <ds:schemaRef ds:uri="http://schemas.openxmlformats.org/package/2006/metadata/core-properties"/>
    <ds:schemaRef ds:uri="http://schemas.microsoft.com/office/2006/documentManagement/types"/>
    <ds:schemaRef ds:uri="fe8a602b-9710-49fb-82c3-990a37320677"/>
    <ds:schemaRef ds:uri="http://schemas.microsoft.com/office/2006/metadata/properties"/>
    <ds:schemaRef ds:uri="http://www.w3.org/XML/1998/namespace"/>
    <ds:schemaRef ds:uri="2fc5f25c-bb10-407b-8f0a-5e9aab90c00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tiviti_PPT_Template_4x3_Final</Template>
  <TotalTime>38938</TotalTime>
  <Words>571</Words>
  <Application>Microsoft Macintosh PowerPoint</Application>
  <PresentationFormat>Widescreen</PresentationFormat>
  <Paragraphs>153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Montserrat</vt:lpstr>
      <vt:lpstr>Calibri</vt:lpstr>
      <vt:lpstr>Arial</vt:lpstr>
      <vt:lpstr>Wingdings</vt:lpstr>
      <vt:lpstr>Montserrat Medium</vt:lpstr>
      <vt:lpstr>Courier New</vt:lpstr>
      <vt:lpstr>Montserrat Light</vt:lpstr>
      <vt:lpstr>Montserrat SemiBold</vt:lpstr>
      <vt:lpstr>Cotiviti_PPT_Template_4x3_Final</vt:lpstr>
      <vt:lpstr>think-cell Slide</vt:lpstr>
      <vt:lpstr>Solution and Architecture Summaries | Workflow</vt:lpstr>
      <vt:lpstr>PowerPoint Presentation</vt:lpstr>
      <vt:lpstr>PowerPoint Presentation</vt:lpstr>
      <vt:lpstr>Template – Workflow Elements</vt:lpstr>
      <vt:lpstr>Template - Workflow</vt:lpstr>
      <vt:lpstr>Workflow (Quality Intelligence)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Johnson, Mica</dc:creator>
  <cp:keywords/>
  <dc:description/>
  <cp:lastModifiedBy>Leviston, Brylan</cp:lastModifiedBy>
  <cp:revision>4</cp:revision>
  <cp:lastPrinted>2018-09-13T18:14:44Z</cp:lastPrinted>
  <dcterms:created xsi:type="dcterms:W3CDTF">2020-12-18T17:42:24Z</dcterms:created>
  <dcterms:modified xsi:type="dcterms:W3CDTF">2021-10-04T15:27:4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1034FD66BFA342B358474C1B8E0BCA</vt:lpwstr>
  </property>
</Properties>
</file>